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8" r:id="rId2"/>
    <p:sldId id="298" r:id="rId3"/>
    <p:sldId id="259" r:id="rId4"/>
    <p:sldId id="299" r:id="rId5"/>
    <p:sldId id="305" r:id="rId6"/>
    <p:sldId id="309" r:id="rId7"/>
    <p:sldId id="306" r:id="rId8"/>
    <p:sldId id="307" r:id="rId9"/>
    <p:sldId id="308" r:id="rId10"/>
    <p:sldId id="300" r:id="rId11"/>
    <p:sldId id="311" r:id="rId12"/>
    <p:sldId id="312" r:id="rId13"/>
    <p:sldId id="315" r:id="rId14"/>
    <p:sldId id="322" r:id="rId15"/>
    <p:sldId id="313" r:id="rId16"/>
    <p:sldId id="302" r:id="rId17"/>
    <p:sldId id="316" r:id="rId18"/>
    <p:sldId id="317" r:id="rId19"/>
    <p:sldId id="318" r:id="rId20"/>
    <p:sldId id="303" r:id="rId21"/>
    <p:sldId id="320" r:id="rId22"/>
    <p:sldId id="321" r:id="rId23"/>
    <p:sldId id="268" r:id="rId24"/>
  </p:sldIdLst>
  <p:sldSz cx="12192000" cy="6858000"/>
  <p:notesSz cx="6797675" cy="9928225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B4919EB-4E9F-43BD-8966-D11A71AA4C9A}">
          <p14:sldIdLst>
            <p14:sldId id="258"/>
            <p14:sldId id="298"/>
            <p14:sldId id="259"/>
          </p14:sldIdLst>
        </p14:section>
        <p14:section name="Analyse und Herangehensweise" id="{C123B618-2F11-49C5-88B8-A81124EBFDAD}">
          <p14:sldIdLst>
            <p14:sldId id="299"/>
            <p14:sldId id="305"/>
            <p14:sldId id="309"/>
            <p14:sldId id="306"/>
            <p14:sldId id="307"/>
            <p14:sldId id="308"/>
          </p14:sldIdLst>
        </p14:section>
        <p14:section name="Programm / System" id="{C03381CF-EB66-4E44-A3D8-A1238F510897}">
          <p14:sldIdLst>
            <p14:sldId id="300"/>
            <p14:sldId id="311"/>
            <p14:sldId id="312"/>
            <p14:sldId id="315"/>
            <p14:sldId id="322"/>
            <p14:sldId id="313"/>
          </p14:sldIdLst>
        </p14:section>
        <p14:section name="Testing" id="{BA7C7545-60A4-46BC-BBC7-9A7D1DB3A2D6}">
          <p14:sldIdLst>
            <p14:sldId id="302"/>
            <p14:sldId id="316"/>
            <p14:sldId id="317"/>
            <p14:sldId id="318"/>
          </p14:sldIdLst>
        </p14:section>
        <p14:section name="Ergebnisinterpretation und Ausblick" id="{591DAD19-06CC-4EB1-8714-6ED8C47FFD88}">
          <p14:sldIdLst>
            <p14:sldId id="303"/>
            <p14:sldId id="320"/>
            <p14:sldId id="321"/>
          </p14:sldIdLst>
        </p14:section>
        <p14:section name="Abschluss" id="{E00D01BA-97E6-431E-9232-C1279E2CE575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5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8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97" autoAdjust="0"/>
    <p:restoredTop sz="78627" autoAdjust="0"/>
  </p:normalViewPr>
  <p:slideViewPr>
    <p:cSldViewPr showGuides="1">
      <p:cViewPr varScale="1">
        <p:scale>
          <a:sx n="103" d="100"/>
          <a:sy n="103" d="100"/>
        </p:scale>
        <p:origin x="630" y="108"/>
      </p:cViewPr>
      <p:guideLst>
        <p:guide orient="horz" pos="2455"/>
        <p:guide pos="3840"/>
        <p:guide orient="horz" pos="4020"/>
        <p:guide pos="234"/>
        <p:guide pos="3749"/>
        <p:guide pos="3931"/>
        <p:guide pos="7446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4194"/>
    </p:cViewPr>
  </p:sorterViewPr>
  <p:notesViewPr>
    <p:cSldViewPr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BA4F54-0839-4EE5-9576-8A894E52A0A4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3C89F76-BAFB-452C-84B0-9B6E85B76016}">
      <dgm:prSet phldrT="[Text]" custT="1"/>
      <dgm:spPr/>
      <dgm:t>
        <a:bodyPr/>
        <a:lstStyle/>
        <a:p>
          <a:r>
            <a:rPr lang="de-DE" sz="3200" dirty="0"/>
            <a:t>Fall 1: Berechnung</a:t>
          </a:r>
          <a:endParaRPr lang="de-DE" sz="4400" dirty="0"/>
        </a:p>
      </dgm:t>
    </dgm:pt>
    <dgm:pt modelId="{DD463786-5963-4CFF-ACA7-9A77ED5DF3EB}" type="parTrans" cxnId="{1D01F7B8-02E6-4520-B391-F58C9B917D51}">
      <dgm:prSet/>
      <dgm:spPr/>
      <dgm:t>
        <a:bodyPr/>
        <a:lstStyle/>
        <a:p>
          <a:endParaRPr lang="de-DE" sz="1100"/>
        </a:p>
      </dgm:t>
    </dgm:pt>
    <dgm:pt modelId="{8E6FE12B-4D0D-44F5-AB1E-6FA576D65C1F}" type="sibTrans" cxnId="{1D01F7B8-02E6-4520-B391-F58C9B917D51}">
      <dgm:prSet/>
      <dgm:spPr/>
      <dgm:t>
        <a:bodyPr/>
        <a:lstStyle/>
        <a:p>
          <a:endParaRPr lang="de-DE" sz="1100"/>
        </a:p>
      </dgm:t>
    </dgm:pt>
    <dgm:pt modelId="{14AE4AD1-065B-484D-BAB2-4FE1B484A113}">
      <dgm:prSet phldrT="[Text]" custT="1"/>
      <dgm:spPr/>
      <dgm:t>
        <a:bodyPr/>
        <a:lstStyle/>
        <a:p>
          <a:r>
            <a:rPr lang="de-DE" sz="1800" dirty="0"/>
            <a:t>Kommentare / Infotext</a:t>
          </a:r>
        </a:p>
      </dgm:t>
    </dgm:pt>
    <dgm:pt modelId="{7C5F9D9B-950F-4B82-9AA1-EF5D07597923}" type="parTrans" cxnId="{C0FF99DA-3A5C-4A94-A0CF-6EB3FEA39B2E}">
      <dgm:prSet/>
      <dgm:spPr/>
      <dgm:t>
        <a:bodyPr/>
        <a:lstStyle/>
        <a:p>
          <a:endParaRPr lang="de-DE" sz="1100"/>
        </a:p>
      </dgm:t>
    </dgm:pt>
    <dgm:pt modelId="{49C50EE9-E584-4DB0-9500-94FF278C9861}" type="sibTrans" cxnId="{C0FF99DA-3A5C-4A94-A0CF-6EB3FEA39B2E}">
      <dgm:prSet/>
      <dgm:spPr/>
      <dgm:t>
        <a:bodyPr/>
        <a:lstStyle/>
        <a:p>
          <a:endParaRPr lang="de-DE" sz="1100"/>
        </a:p>
      </dgm:t>
    </dgm:pt>
    <dgm:pt modelId="{38E1D456-93C1-485F-BD60-FCF012C71526}">
      <dgm:prSet phldrT="[Text]" custT="1"/>
      <dgm:spPr/>
      <dgm:t>
        <a:bodyPr/>
        <a:lstStyle/>
        <a:p>
          <a:r>
            <a:rPr lang="de-DE" sz="1800" dirty="0"/>
            <a:t>Ziel: Zufallsgenerierung</a:t>
          </a:r>
        </a:p>
      </dgm:t>
    </dgm:pt>
    <dgm:pt modelId="{2FC2A53F-0D92-4EC8-B4CF-E8338783ABE7}" type="parTrans" cxnId="{6B561ABB-6FA9-4EBD-BE67-0BFBCEEEBC48}">
      <dgm:prSet/>
      <dgm:spPr/>
      <dgm:t>
        <a:bodyPr/>
        <a:lstStyle/>
        <a:p>
          <a:endParaRPr lang="de-DE" sz="1100"/>
        </a:p>
      </dgm:t>
    </dgm:pt>
    <dgm:pt modelId="{F3526D55-AB3A-4242-A55E-1BBF2B97A126}" type="sibTrans" cxnId="{6B561ABB-6FA9-4EBD-BE67-0BFBCEEEBC48}">
      <dgm:prSet/>
      <dgm:spPr/>
      <dgm:t>
        <a:bodyPr/>
        <a:lstStyle/>
        <a:p>
          <a:endParaRPr lang="de-DE" sz="1100"/>
        </a:p>
      </dgm:t>
    </dgm:pt>
    <dgm:pt modelId="{DA9CEAA6-6007-4651-B986-F523C55DD60B}">
      <dgm:prSet phldrT="[Text]" custT="1"/>
      <dgm:spPr/>
      <dgm:t>
        <a:bodyPr/>
        <a:lstStyle/>
        <a:p>
          <a:r>
            <a:rPr lang="de-DE" sz="1800" dirty="0"/>
            <a:t>Generator: LCG</a:t>
          </a:r>
        </a:p>
      </dgm:t>
    </dgm:pt>
    <dgm:pt modelId="{1951E273-6503-4163-9458-3E834C011E9B}" type="parTrans" cxnId="{FC316A6F-CC68-4F08-A0B4-FB60A77C6AF3}">
      <dgm:prSet/>
      <dgm:spPr/>
      <dgm:t>
        <a:bodyPr/>
        <a:lstStyle/>
        <a:p>
          <a:endParaRPr lang="de-DE" sz="1100"/>
        </a:p>
      </dgm:t>
    </dgm:pt>
    <dgm:pt modelId="{6202B8DD-5205-4521-AAD0-CBCEB07904AE}" type="sibTrans" cxnId="{FC316A6F-CC68-4F08-A0B4-FB60A77C6AF3}">
      <dgm:prSet/>
      <dgm:spPr/>
      <dgm:t>
        <a:bodyPr/>
        <a:lstStyle/>
        <a:p>
          <a:endParaRPr lang="de-DE" sz="1100"/>
        </a:p>
      </dgm:t>
    </dgm:pt>
    <dgm:pt modelId="{3C64B53D-E7E0-485A-B4C7-1321AD3D79DE}">
      <dgm:prSet phldrT="[Text]" custT="1"/>
      <dgm:spPr/>
      <dgm:t>
        <a:bodyPr/>
        <a:lstStyle/>
        <a:p>
          <a:r>
            <a:rPr lang="de-DE" sz="3200" dirty="0"/>
            <a:t>Fall 2: Bewertung</a:t>
          </a:r>
          <a:endParaRPr lang="de-DE" sz="4400" dirty="0"/>
        </a:p>
      </dgm:t>
    </dgm:pt>
    <dgm:pt modelId="{901BC159-2495-48E1-9830-986FF9960BEE}" type="parTrans" cxnId="{35134F1C-9742-48B4-857B-07D9831F1635}">
      <dgm:prSet/>
      <dgm:spPr/>
      <dgm:t>
        <a:bodyPr/>
        <a:lstStyle/>
        <a:p>
          <a:endParaRPr lang="de-DE" sz="1100"/>
        </a:p>
      </dgm:t>
    </dgm:pt>
    <dgm:pt modelId="{A62CE6AB-C19E-43A6-9163-EB3C8AD3C0B7}" type="sibTrans" cxnId="{35134F1C-9742-48B4-857B-07D9831F1635}">
      <dgm:prSet/>
      <dgm:spPr/>
      <dgm:t>
        <a:bodyPr/>
        <a:lstStyle/>
        <a:p>
          <a:endParaRPr lang="de-DE" sz="1100"/>
        </a:p>
      </dgm:t>
    </dgm:pt>
    <dgm:pt modelId="{CAF074A7-DA32-4B00-A402-7C641D410716}">
      <dgm:prSet phldrT="[Text]" custT="1"/>
      <dgm:spPr/>
      <dgm:t>
        <a:bodyPr/>
        <a:lstStyle/>
        <a:p>
          <a:r>
            <a:rPr lang="de-DE" sz="1800" dirty="0"/>
            <a:t>Kommentare / Infotext</a:t>
          </a:r>
        </a:p>
      </dgm:t>
    </dgm:pt>
    <dgm:pt modelId="{F021DCD5-DB7C-47F3-8305-30277467DC50}" type="parTrans" cxnId="{AABA7D52-1E63-4D98-9C0A-4517DE99C920}">
      <dgm:prSet/>
      <dgm:spPr/>
      <dgm:t>
        <a:bodyPr/>
        <a:lstStyle/>
        <a:p>
          <a:endParaRPr lang="de-DE" sz="1100"/>
        </a:p>
      </dgm:t>
    </dgm:pt>
    <dgm:pt modelId="{063B3FA2-DB9B-415A-8E83-7D8605178F26}" type="sibTrans" cxnId="{AABA7D52-1E63-4D98-9C0A-4517DE99C920}">
      <dgm:prSet/>
      <dgm:spPr/>
      <dgm:t>
        <a:bodyPr/>
        <a:lstStyle/>
        <a:p>
          <a:endParaRPr lang="de-DE" sz="1100"/>
        </a:p>
      </dgm:t>
    </dgm:pt>
    <dgm:pt modelId="{C99EE9B4-162A-42D7-B0C8-3DBA97E5AC14}">
      <dgm:prSet phldrT="[Text]" custT="1"/>
      <dgm:spPr/>
      <dgm:t>
        <a:bodyPr/>
        <a:lstStyle/>
        <a:p>
          <a:r>
            <a:rPr lang="de-DE" sz="1800" dirty="0"/>
            <a:t>Ziel: Bewertung</a:t>
          </a:r>
        </a:p>
      </dgm:t>
    </dgm:pt>
    <dgm:pt modelId="{D4601300-2603-4BAB-9CF3-49F2C55EAE9B}" type="parTrans" cxnId="{5C6348A9-0553-4608-8BFE-3AF724EA90A4}">
      <dgm:prSet/>
      <dgm:spPr/>
      <dgm:t>
        <a:bodyPr/>
        <a:lstStyle/>
        <a:p>
          <a:endParaRPr lang="de-DE" sz="1100"/>
        </a:p>
      </dgm:t>
    </dgm:pt>
    <dgm:pt modelId="{87B3029F-9860-4BC0-80C1-A607CFB3FBBF}" type="sibTrans" cxnId="{5C6348A9-0553-4608-8BFE-3AF724EA90A4}">
      <dgm:prSet/>
      <dgm:spPr/>
      <dgm:t>
        <a:bodyPr/>
        <a:lstStyle/>
        <a:p>
          <a:endParaRPr lang="de-DE" sz="1100"/>
        </a:p>
      </dgm:t>
    </dgm:pt>
    <dgm:pt modelId="{8E45AD21-25E4-42B7-9A6D-FA28DEDB3D2D}">
      <dgm:prSet phldrT="[Text]" custT="1"/>
      <dgm:spPr/>
      <dgm:t>
        <a:bodyPr/>
        <a:lstStyle/>
        <a:p>
          <a:r>
            <a:rPr lang="de-DE" sz="1800" dirty="0"/>
            <a:t>Zufallszahlen: 2,3,4,5</a:t>
          </a:r>
        </a:p>
      </dgm:t>
    </dgm:pt>
    <dgm:pt modelId="{55BB841F-67CF-4179-8271-17657A6C97F8}" type="parTrans" cxnId="{1622AA69-57E1-4E6C-8C58-1C52A9E1D819}">
      <dgm:prSet/>
      <dgm:spPr/>
      <dgm:t>
        <a:bodyPr/>
        <a:lstStyle/>
        <a:p>
          <a:endParaRPr lang="de-DE" sz="1100"/>
        </a:p>
      </dgm:t>
    </dgm:pt>
    <dgm:pt modelId="{A49B3F31-0291-4C24-963C-7C4B9A4A8565}" type="sibTrans" cxnId="{1622AA69-57E1-4E6C-8C58-1C52A9E1D819}">
      <dgm:prSet/>
      <dgm:spPr/>
      <dgm:t>
        <a:bodyPr/>
        <a:lstStyle/>
        <a:p>
          <a:endParaRPr lang="de-DE" sz="1100"/>
        </a:p>
      </dgm:t>
    </dgm:pt>
    <dgm:pt modelId="{F0531B3A-B6EB-43A2-AB2D-D6FE44B65634}">
      <dgm:prSet phldrT="[Text]" custT="1"/>
      <dgm:spPr/>
      <dgm:t>
        <a:bodyPr/>
        <a:lstStyle/>
        <a:p>
          <a:r>
            <a:rPr lang="de-DE" sz="1800" dirty="0"/>
            <a:t>Parameter: m=1,a=2,…</a:t>
          </a:r>
        </a:p>
      </dgm:t>
    </dgm:pt>
    <dgm:pt modelId="{41C482AE-2B7F-42CA-9B06-E31B93060D80}" type="parTrans" cxnId="{B1D7DC1E-D6BB-4A06-868C-28D03B42BE6A}">
      <dgm:prSet/>
      <dgm:spPr/>
      <dgm:t>
        <a:bodyPr/>
        <a:lstStyle/>
        <a:p>
          <a:endParaRPr lang="de-DE"/>
        </a:p>
      </dgm:t>
    </dgm:pt>
    <dgm:pt modelId="{DEAE2769-EE08-4B3F-B922-F9E93818260B}" type="sibTrans" cxnId="{B1D7DC1E-D6BB-4A06-868C-28D03B42BE6A}">
      <dgm:prSet/>
      <dgm:spPr/>
      <dgm:t>
        <a:bodyPr/>
        <a:lstStyle/>
        <a:p>
          <a:endParaRPr lang="de-DE"/>
        </a:p>
      </dgm:t>
    </dgm:pt>
    <dgm:pt modelId="{F902D9E3-78BB-4DAE-A306-6CCCFE2227AD}" type="pres">
      <dgm:prSet presAssocID="{62BA4F54-0839-4EE5-9576-8A894E52A0A4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de-DE"/>
        </a:p>
      </dgm:t>
    </dgm:pt>
    <dgm:pt modelId="{F51462A2-2FE6-4DCA-81A5-C877D12156B7}" type="pres">
      <dgm:prSet presAssocID="{23C89F76-BAFB-452C-84B0-9B6E85B76016}" presName="root" presStyleCnt="0">
        <dgm:presLayoutVars>
          <dgm:chMax/>
          <dgm:chPref/>
        </dgm:presLayoutVars>
      </dgm:prSet>
      <dgm:spPr/>
    </dgm:pt>
    <dgm:pt modelId="{F8D8D25A-5224-4A4E-842A-3009AC66E5D6}" type="pres">
      <dgm:prSet presAssocID="{23C89F76-BAFB-452C-84B0-9B6E85B76016}" presName="rootComposite" presStyleCnt="0">
        <dgm:presLayoutVars/>
      </dgm:prSet>
      <dgm:spPr/>
    </dgm:pt>
    <dgm:pt modelId="{007F8887-6D10-4EB5-A5DA-D87583C113AB}" type="pres">
      <dgm:prSet presAssocID="{23C89F76-BAFB-452C-84B0-9B6E85B76016}" presName="ParentAccent" presStyleLbl="alignNode1" presStyleIdx="0" presStyleCnt="2"/>
      <dgm:spPr/>
    </dgm:pt>
    <dgm:pt modelId="{6EB5A8AC-56B3-4A17-B856-BC9E9055B836}" type="pres">
      <dgm:prSet presAssocID="{23C89F76-BAFB-452C-84B0-9B6E85B76016}" presName="ParentSmallAccent" presStyleLbl="fgAcc1" presStyleIdx="0" presStyleCnt="2"/>
      <dgm:spPr/>
    </dgm:pt>
    <dgm:pt modelId="{22AE4F34-DFEB-44BF-98CC-C3810E6D705C}" type="pres">
      <dgm:prSet presAssocID="{23C89F76-BAFB-452C-84B0-9B6E85B76016}" presName="Parent" presStyleLbl="revTx" presStyleIdx="0" presStyleCnt="9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9FC882-1D5D-4FA9-B854-D480C9E41B1B}" type="pres">
      <dgm:prSet presAssocID="{23C89F76-BAFB-452C-84B0-9B6E85B76016}" presName="childShape" presStyleCnt="0">
        <dgm:presLayoutVars>
          <dgm:chMax val="0"/>
          <dgm:chPref val="0"/>
        </dgm:presLayoutVars>
      </dgm:prSet>
      <dgm:spPr/>
    </dgm:pt>
    <dgm:pt modelId="{0D2C7AC7-EB22-459F-A658-19A399615862}" type="pres">
      <dgm:prSet presAssocID="{14AE4AD1-065B-484D-BAB2-4FE1B484A113}" presName="childComposite" presStyleCnt="0">
        <dgm:presLayoutVars>
          <dgm:chMax val="0"/>
          <dgm:chPref val="0"/>
        </dgm:presLayoutVars>
      </dgm:prSet>
      <dgm:spPr/>
    </dgm:pt>
    <dgm:pt modelId="{4C846F9F-BD35-4E19-8DBA-0CB5456396B9}" type="pres">
      <dgm:prSet presAssocID="{14AE4AD1-065B-484D-BAB2-4FE1B484A113}" presName="ChildAccent" presStyleLbl="solidFgAcc1" presStyleIdx="0" presStyleCnt="7"/>
      <dgm:spPr/>
    </dgm:pt>
    <dgm:pt modelId="{B5077258-0C39-412D-AD25-B5CB3DF326B0}" type="pres">
      <dgm:prSet presAssocID="{14AE4AD1-065B-484D-BAB2-4FE1B484A113}" presName="Child" presStyleLbl="revTx" presStyleIdx="1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3E9475B-9456-452C-9A97-02BE22FED6F6}" type="pres">
      <dgm:prSet presAssocID="{38E1D456-93C1-485F-BD60-FCF012C71526}" presName="childComposite" presStyleCnt="0">
        <dgm:presLayoutVars>
          <dgm:chMax val="0"/>
          <dgm:chPref val="0"/>
        </dgm:presLayoutVars>
      </dgm:prSet>
      <dgm:spPr/>
    </dgm:pt>
    <dgm:pt modelId="{A5D77796-1710-4ED3-82C9-339A0C9D57D3}" type="pres">
      <dgm:prSet presAssocID="{38E1D456-93C1-485F-BD60-FCF012C71526}" presName="ChildAccent" presStyleLbl="solidFgAcc1" presStyleIdx="1" presStyleCnt="7"/>
      <dgm:spPr/>
    </dgm:pt>
    <dgm:pt modelId="{37432465-E142-4380-B6E2-3D3E3B715680}" type="pres">
      <dgm:prSet presAssocID="{38E1D456-93C1-485F-BD60-FCF012C71526}" presName="Child" presStyleLbl="revTx" presStyleIdx="2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481FF26-E8CE-4D3A-B1DC-B9F1BFAB4D07}" type="pres">
      <dgm:prSet presAssocID="{DA9CEAA6-6007-4651-B986-F523C55DD60B}" presName="childComposite" presStyleCnt="0">
        <dgm:presLayoutVars>
          <dgm:chMax val="0"/>
          <dgm:chPref val="0"/>
        </dgm:presLayoutVars>
      </dgm:prSet>
      <dgm:spPr/>
    </dgm:pt>
    <dgm:pt modelId="{52B5946B-15BC-43E3-BD63-0FCFE5CAD547}" type="pres">
      <dgm:prSet presAssocID="{DA9CEAA6-6007-4651-B986-F523C55DD60B}" presName="ChildAccent" presStyleLbl="solidFgAcc1" presStyleIdx="2" presStyleCnt="7"/>
      <dgm:spPr/>
    </dgm:pt>
    <dgm:pt modelId="{E7C251C0-3DAC-4C0E-9F41-72C8357F62DD}" type="pres">
      <dgm:prSet presAssocID="{DA9CEAA6-6007-4651-B986-F523C55DD60B}" presName="Child" presStyleLbl="revTx" presStyleIdx="3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1DE929B-8E0C-463F-9C42-1037A046559E}" type="pres">
      <dgm:prSet presAssocID="{F0531B3A-B6EB-43A2-AB2D-D6FE44B65634}" presName="childComposite" presStyleCnt="0">
        <dgm:presLayoutVars>
          <dgm:chMax val="0"/>
          <dgm:chPref val="0"/>
        </dgm:presLayoutVars>
      </dgm:prSet>
      <dgm:spPr/>
    </dgm:pt>
    <dgm:pt modelId="{B78DA5E3-196A-45FF-86D3-6B35A9FD07B6}" type="pres">
      <dgm:prSet presAssocID="{F0531B3A-B6EB-43A2-AB2D-D6FE44B65634}" presName="ChildAccent" presStyleLbl="solidFgAcc1" presStyleIdx="3" presStyleCnt="7"/>
      <dgm:spPr/>
    </dgm:pt>
    <dgm:pt modelId="{5C966524-0DE2-4746-AE20-2217D4A6551F}" type="pres">
      <dgm:prSet presAssocID="{F0531B3A-B6EB-43A2-AB2D-D6FE44B65634}" presName="Child" presStyleLbl="revTx" presStyleIdx="4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CC46A8D-84F4-469B-8CDB-F1296602322D}" type="pres">
      <dgm:prSet presAssocID="{3C64B53D-E7E0-485A-B4C7-1321AD3D79DE}" presName="root" presStyleCnt="0">
        <dgm:presLayoutVars>
          <dgm:chMax/>
          <dgm:chPref/>
        </dgm:presLayoutVars>
      </dgm:prSet>
      <dgm:spPr/>
    </dgm:pt>
    <dgm:pt modelId="{2E2621BC-1B5B-4826-8E95-5868E1055017}" type="pres">
      <dgm:prSet presAssocID="{3C64B53D-E7E0-485A-B4C7-1321AD3D79DE}" presName="rootComposite" presStyleCnt="0">
        <dgm:presLayoutVars/>
      </dgm:prSet>
      <dgm:spPr/>
    </dgm:pt>
    <dgm:pt modelId="{2B70352A-60D3-46D2-A783-8A15CDADAB43}" type="pres">
      <dgm:prSet presAssocID="{3C64B53D-E7E0-485A-B4C7-1321AD3D79DE}" presName="ParentAccent" presStyleLbl="alignNode1" presStyleIdx="1" presStyleCnt="2"/>
      <dgm:spPr/>
    </dgm:pt>
    <dgm:pt modelId="{E330E898-1C07-4333-80AD-B736C4D21515}" type="pres">
      <dgm:prSet presAssocID="{3C64B53D-E7E0-485A-B4C7-1321AD3D79DE}" presName="ParentSmallAccent" presStyleLbl="fgAcc1" presStyleIdx="1" presStyleCnt="2"/>
      <dgm:spPr/>
    </dgm:pt>
    <dgm:pt modelId="{89FAE040-6B7A-46A3-A72D-30BBE62C71BE}" type="pres">
      <dgm:prSet presAssocID="{3C64B53D-E7E0-485A-B4C7-1321AD3D79DE}" presName="Parent" presStyleLbl="revTx" presStyleIdx="5" presStyleCnt="9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F8ED0D-ED59-44CE-9800-8F29F4DA2414}" type="pres">
      <dgm:prSet presAssocID="{3C64B53D-E7E0-485A-B4C7-1321AD3D79DE}" presName="childShape" presStyleCnt="0">
        <dgm:presLayoutVars>
          <dgm:chMax val="0"/>
          <dgm:chPref val="0"/>
        </dgm:presLayoutVars>
      </dgm:prSet>
      <dgm:spPr/>
    </dgm:pt>
    <dgm:pt modelId="{4E088521-C784-4F81-87F2-420AE9D8C13D}" type="pres">
      <dgm:prSet presAssocID="{CAF074A7-DA32-4B00-A402-7C641D410716}" presName="childComposite" presStyleCnt="0">
        <dgm:presLayoutVars>
          <dgm:chMax val="0"/>
          <dgm:chPref val="0"/>
        </dgm:presLayoutVars>
      </dgm:prSet>
      <dgm:spPr/>
    </dgm:pt>
    <dgm:pt modelId="{B564C8F1-EA51-41FF-9BDF-3D455C2968C8}" type="pres">
      <dgm:prSet presAssocID="{CAF074A7-DA32-4B00-A402-7C641D410716}" presName="ChildAccent" presStyleLbl="solidFgAcc1" presStyleIdx="4" presStyleCnt="7"/>
      <dgm:spPr/>
    </dgm:pt>
    <dgm:pt modelId="{80E2213E-E6F3-4E5C-9F44-94E8CE2714E2}" type="pres">
      <dgm:prSet presAssocID="{CAF074A7-DA32-4B00-A402-7C641D410716}" presName="Child" presStyleLbl="revTx" presStyleIdx="6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4AC216A-08A2-48F1-8D9C-431E83C34174}" type="pres">
      <dgm:prSet presAssocID="{C99EE9B4-162A-42D7-B0C8-3DBA97E5AC14}" presName="childComposite" presStyleCnt="0">
        <dgm:presLayoutVars>
          <dgm:chMax val="0"/>
          <dgm:chPref val="0"/>
        </dgm:presLayoutVars>
      </dgm:prSet>
      <dgm:spPr/>
    </dgm:pt>
    <dgm:pt modelId="{3400581A-62DC-4414-BB64-5F86897F4BE2}" type="pres">
      <dgm:prSet presAssocID="{C99EE9B4-162A-42D7-B0C8-3DBA97E5AC14}" presName="ChildAccent" presStyleLbl="solidFgAcc1" presStyleIdx="5" presStyleCnt="7"/>
      <dgm:spPr/>
    </dgm:pt>
    <dgm:pt modelId="{AF01E8A1-C5E0-47EF-B7D7-636ED73C9D97}" type="pres">
      <dgm:prSet presAssocID="{C99EE9B4-162A-42D7-B0C8-3DBA97E5AC14}" presName="Child" presStyleLbl="revTx" presStyleIdx="7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08ABEC-49A6-42C1-835F-0EF2139A089E}" type="pres">
      <dgm:prSet presAssocID="{8E45AD21-25E4-42B7-9A6D-FA28DEDB3D2D}" presName="childComposite" presStyleCnt="0">
        <dgm:presLayoutVars>
          <dgm:chMax val="0"/>
          <dgm:chPref val="0"/>
        </dgm:presLayoutVars>
      </dgm:prSet>
      <dgm:spPr/>
    </dgm:pt>
    <dgm:pt modelId="{69044049-27E0-4AE7-9C1B-707D637B9A57}" type="pres">
      <dgm:prSet presAssocID="{8E45AD21-25E4-42B7-9A6D-FA28DEDB3D2D}" presName="ChildAccent" presStyleLbl="solidFgAcc1" presStyleIdx="6" presStyleCnt="7"/>
      <dgm:spPr/>
    </dgm:pt>
    <dgm:pt modelId="{A96C5E5C-B42C-49F1-972C-E8D33ECF3101}" type="pres">
      <dgm:prSet presAssocID="{8E45AD21-25E4-42B7-9A6D-FA28DEDB3D2D}" presName="Child" presStyleLbl="revTx" presStyleIdx="8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618ACE6-BBDA-46B9-81E5-A534B5AB318E}" type="presOf" srcId="{F0531B3A-B6EB-43A2-AB2D-D6FE44B65634}" destId="{5C966524-0DE2-4746-AE20-2217D4A6551F}" srcOrd="0" destOrd="0" presId="urn:microsoft.com/office/officeart/2008/layout/SquareAccentList"/>
    <dgm:cxn modelId="{0632DF92-E43E-4CE7-8337-CAA84245FA5F}" type="presOf" srcId="{C99EE9B4-162A-42D7-B0C8-3DBA97E5AC14}" destId="{AF01E8A1-C5E0-47EF-B7D7-636ED73C9D97}" srcOrd="0" destOrd="0" presId="urn:microsoft.com/office/officeart/2008/layout/SquareAccentList"/>
    <dgm:cxn modelId="{D08585DA-3CD0-472F-A4DB-16B7B0B87837}" type="presOf" srcId="{23C89F76-BAFB-452C-84B0-9B6E85B76016}" destId="{22AE4F34-DFEB-44BF-98CC-C3810E6D705C}" srcOrd="0" destOrd="0" presId="urn:microsoft.com/office/officeart/2008/layout/SquareAccentList"/>
    <dgm:cxn modelId="{B38A2CB3-30A5-419C-BE87-BA1260ECBB74}" type="presOf" srcId="{DA9CEAA6-6007-4651-B986-F523C55DD60B}" destId="{E7C251C0-3DAC-4C0E-9F41-72C8357F62DD}" srcOrd="0" destOrd="0" presId="urn:microsoft.com/office/officeart/2008/layout/SquareAccentList"/>
    <dgm:cxn modelId="{69CB2FF7-209C-4FA5-B9ED-9B78928B8106}" type="presOf" srcId="{8E45AD21-25E4-42B7-9A6D-FA28DEDB3D2D}" destId="{A96C5E5C-B42C-49F1-972C-E8D33ECF3101}" srcOrd="0" destOrd="0" presId="urn:microsoft.com/office/officeart/2008/layout/SquareAccentList"/>
    <dgm:cxn modelId="{5C6348A9-0553-4608-8BFE-3AF724EA90A4}" srcId="{3C64B53D-E7E0-485A-B4C7-1321AD3D79DE}" destId="{C99EE9B4-162A-42D7-B0C8-3DBA97E5AC14}" srcOrd="1" destOrd="0" parTransId="{D4601300-2603-4BAB-9CF3-49F2C55EAE9B}" sibTransId="{87B3029F-9860-4BC0-80C1-A607CFB3FBBF}"/>
    <dgm:cxn modelId="{B1D7DC1E-D6BB-4A06-868C-28D03B42BE6A}" srcId="{23C89F76-BAFB-452C-84B0-9B6E85B76016}" destId="{F0531B3A-B6EB-43A2-AB2D-D6FE44B65634}" srcOrd="3" destOrd="0" parTransId="{41C482AE-2B7F-42CA-9B06-E31B93060D80}" sibTransId="{DEAE2769-EE08-4B3F-B922-F9E93818260B}"/>
    <dgm:cxn modelId="{35134F1C-9742-48B4-857B-07D9831F1635}" srcId="{62BA4F54-0839-4EE5-9576-8A894E52A0A4}" destId="{3C64B53D-E7E0-485A-B4C7-1321AD3D79DE}" srcOrd="1" destOrd="0" parTransId="{901BC159-2495-48E1-9830-986FF9960BEE}" sibTransId="{A62CE6AB-C19E-43A6-9163-EB3C8AD3C0B7}"/>
    <dgm:cxn modelId="{C0FF99DA-3A5C-4A94-A0CF-6EB3FEA39B2E}" srcId="{23C89F76-BAFB-452C-84B0-9B6E85B76016}" destId="{14AE4AD1-065B-484D-BAB2-4FE1B484A113}" srcOrd="0" destOrd="0" parTransId="{7C5F9D9B-950F-4B82-9AA1-EF5D07597923}" sibTransId="{49C50EE9-E584-4DB0-9500-94FF278C9861}"/>
    <dgm:cxn modelId="{00F391A2-EDDF-4112-9C76-AC99DD0F580B}" type="presOf" srcId="{38E1D456-93C1-485F-BD60-FCF012C71526}" destId="{37432465-E142-4380-B6E2-3D3E3B715680}" srcOrd="0" destOrd="0" presId="urn:microsoft.com/office/officeart/2008/layout/SquareAccentList"/>
    <dgm:cxn modelId="{6B561ABB-6FA9-4EBD-BE67-0BFBCEEEBC48}" srcId="{23C89F76-BAFB-452C-84B0-9B6E85B76016}" destId="{38E1D456-93C1-485F-BD60-FCF012C71526}" srcOrd="1" destOrd="0" parTransId="{2FC2A53F-0D92-4EC8-B4CF-E8338783ABE7}" sibTransId="{F3526D55-AB3A-4242-A55E-1BBF2B97A126}"/>
    <dgm:cxn modelId="{ED75A977-468F-4ACD-B330-74551306F254}" type="presOf" srcId="{CAF074A7-DA32-4B00-A402-7C641D410716}" destId="{80E2213E-E6F3-4E5C-9F44-94E8CE2714E2}" srcOrd="0" destOrd="0" presId="urn:microsoft.com/office/officeart/2008/layout/SquareAccentList"/>
    <dgm:cxn modelId="{AABA7D52-1E63-4D98-9C0A-4517DE99C920}" srcId="{3C64B53D-E7E0-485A-B4C7-1321AD3D79DE}" destId="{CAF074A7-DA32-4B00-A402-7C641D410716}" srcOrd="0" destOrd="0" parTransId="{F021DCD5-DB7C-47F3-8305-30277467DC50}" sibTransId="{063B3FA2-DB9B-415A-8E83-7D8605178F26}"/>
    <dgm:cxn modelId="{CBFBEE04-3CB5-4C2E-8234-8D10E3B2D6D5}" type="presOf" srcId="{62BA4F54-0839-4EE5-9576-8A894E52A0A4}" destId="{F902D9E3-78BB-4DAE-A306-6CCCFE2227AD}" srcOrd="0" destOrd="0" presId="urn:microsoft.com/office/officeart/2008/layout/SquareAccentList"/>
    <dgm:cxn modelId="{B11BCFB7-2297-451C-A189-91073931AFE8}" type="presOf" srcId="{3C64B53D-E7E0-485A-B4C7-1321AD3D79DE}" destId="{89FAE040-6B7A-46A3-A72D-30BBE62C71BE}" srcOrd="0" destOrd="0" presId="urn:microsoft.com/office/officeart/2008/layout/SquareAccentList"/>
    <dgm:cxn modelId="{FC316A6F-CC68-4F08-A0B4-FB60A77C6AF3}" srcId="{23C89F76-BAFB-452C-84B0-9B6E85B76016}" destId="{DA9CEAA6-6007-4651-B986-F523C55DD60B}" srcOrd="2" destOrd="0" parTransId="{1951E273-6503-4163-9458-3E834C011E9B}" sibTransId="{6202B8DD-5205-4521-AAD0-CBCEB07904AE}"/>
    <dgm:cxn modelId="{1622AA69-57E1-4E6C-8C58-1C52A9E1D819}" srcId="{3C64B53D-E7E0-485A-B4C7-1321AD3D79DE}" destId="{8E45AD21-25E4-42B7-9A6D-FA28DEDB3D2D}" srcOrd="2" destOrd="0" parTransId="{55BB841F-67CF-4179-8271-17657A6C97F8}" sibTransId="{A49B3F31-0291-4C24-963C-7C4B9A4A8565}"/>
    <dgm:cxn modelId="{59D88D76-C44E-4224-9D7A-041BF1F2B981}" type="presOf" srcId="{14AE4AD1-065B-484D-BAB2-4FE1B484A113}" destId="{B5077258-0C39-412D-AD25-B5CB3DF326B0}" srcOrd="0" destOrd="0" presId="urn:microsoft.com/office/officeart/2008/layout/SquareAccentList"/>
    <dgm:cxn modelId="{1D01F7B8-02E6-4520-B391-F58C9B917D51}" srcId="{62BA4F54-0839-4EE5-9576-8A894E52A0A4}" destId="{23C89F76-BAFB-452C-84B0-9B6E85B76016}" srcOrd="0" destOrd="0" parTransId="{DD463786-5963-4CFF-ACA7-9A77ED5DF3EB}" sibTransId="{8E6FE12B-4D0D-44F5-AB1E-6FA576D65C1F}"/>
    <dgm:cxn modelId="{7D751188-96B8-4257-B855-B068E4788E5B}" type="presParOf" srcId="{F902D9E3-78BB-4DAE-A306-6CCCFE2227AD}" destId="{F51462A2-2FE6-4DCA-81A5-C877D12156B7}" srcOrd="0" destOrd="0" presId="urn:microsoft.com/office/officeart/2008/layout/SquareAccentList"/>
    <dgm:cxn modelId="{3276F117-227A-408F-8EBC-53F77F742788}" type="presParOf" srcId="{F51462A2-2FE6-4DCA-81A5-C877D12156B7}" destId="{F8D8D25A-5224-4A4E-842A-3009AC66E5D6}" srcOrd="0" destOrd="0" presId="urn:microsoft.com/office/officeart/2008/layout/SquareAccentList"/>
    <dgm:cxn modelId="{7EB9AE16-C78D-45C7-A351-FDDDEE49E39F}" type="presParOf" srcId="{F8D8D25A-5224-4A4E-842A-3009AC66E5D6}" destId="{007F8887-6D10-4EB5-A5DA-D87583C113AB}" srcOrd="0" destOrd="0" presId="urn:microsoft.com/office/officeart/2008/layout/SquareAccentList"/>
    <dgm:cxn modelId="{21FD8F87-4AE7-4743-874F-1432356BF311}" type="presParOf" srcId="{F8D8D25A-5224-4A4E-842A-3009AC66E5D6}" destId="{6EB5A8AC-56B3-4A17-B856-BC9E9055B836}" srcOrd="1" destOrd="0" presId="urn:microsoft.com/office/officeart/2008/layout/SquareAccentList"/>
    <dgm:cxn modelId="{2FCF93B3-DAE7-42E7-ADC4-8AA53CE7438F}" type="presParOf" srcId="{F8D8D25A-5224-4A4E-842A-3009AC66E5D6}" destId="{22AE4F34-DFEB-44BF-98CC-C3810E6D705C}" srcOrd="2" destOrd="0" presId="urn:microsoft.com/office/officeart/2008/layout/SquareAccentList"/>
    <dgm:cxn modelId="{5D0B2AE8-C95A-43A9-8049-D1379311D1B3}" type="presParOf" srcId="{F51462A2-2FE6-4DCA-81A5-C877D12156B7}" destId="{3F9FC882-1D5D-4FA9-B854-D480C9E41B1B}" srcOrd="1" destOrd="0" presId="urn:microsoft.com/office/officeart/2008/layout/SquareAccentList"/>
    <dgm:cxn modelId="{9AD02BBD-F041-49A3-B4BD-4C1ABFA03DBA}" type="presParOf" srcId="{3F9FC882-1D5D-4FA9-B854-D480C9E41B1B}" destId="{0D2C7AC7-EB22-459F-A658-19A399615862}" srcOrd="0" destOrd="0" presId="urn:microsoft.com/office/officeart/2008/layout/SquareAccentList"/>
    <dgm:cxn modelId="{1A93BD6B-6A91-40D1-B09F-A208F13AB327}" type="presParOf" srcId="{0D2C7AC7-EB22-459F-A658-19A399615862}" destId="{4C846F9F-BD35-4E19-8DBA-0CB5456396B9}" srcOrd="0" destOrd="0" presId="urn:microsoft.com/office/officeart/2008/layout/SquareAccentList"/>
    <dgm:cxn modelId="{5A6B2402-733B-4F0C-BBF2-9712F7E5AD3F}" type="presParOf" srcId="{0D2C7AC7-EB22-459F-A658-19A399615862}" destId="{B5077258-0C39-412D-AD25-B5CB3DF326B0}" srcOrd="1" destOrd="0" presId="urn:microsoft.com/office/officeart/2008/layout/SquareAccentList"/>
    <dgm:cxn modelId="{A0F315AF-75A2-430A-B888-221F6266D6A1}" type="presParOf" srcId="{3F9FC882-1D5D-4FA9-B854-D480C9E41B1B}" destId="{93E9475B-9456-452C-9A97-02BE22FED6F6}" srcOrd="1" destOrd="0" presId="urn:microsoft.com/office/officeart/2008/layout/SquareAccentList"/>
    <dgm:cxn modelId="{5C8FABC8-8749-4A49-A301-4072F1E36961}" type="presParOf" srcId="{93E9475B-9456-452C-9A97-02BE22FED6F6}" destId="{A5D77796-1710-4ED3-82C9-339A0C9D57D3}" srcOrd="0" destOrd="0" presId="urn:microsoft.com/office/officeart/2008/layout/SquareAccentList"/>
    <dgm:cxn modelId="{660B75B1-F20F-4205-9696-4F9036BBD717}" type="presParOf" srcId="{93E9475B-9456-452C-9A97-02BE22FED6F6}" destId="{37432465-E142-4380-B6E2-3D3E3B715680}" srcOrd="1" destOrd="0" presId="urn:microsoft.com/office/officeart/2008/layout/SquareAccentList"/>
    <dgm:cxn modelId="{2B611C17-E7F9-42C2-A589-AE1EFC181C41}" type="presParOf" srcId="{3F9FC882-1D5D-4FA9-B854-D480C9E41B1B}" destId="{7481FF26-E8CE-4D3A-B1DC-B9F1BFAB4D07}" srcOrd="2" destOrd="0" presId="urn:microsoft.com/office/officeart/2008/layout/SquareAccentList"/>
    <dgm:cxn modelId="{E6715F3F-5F9A-4E12-B866-B2BAC1304F5C}" type="presParOf" srcId="{7481FF26-E8CE-4D3A-B1DC-B9F1BFAB4D07}" destId="{52B5946B-15BC-43E3-BD63-0FCFE5CAD547}" srcOrd="0" destOrd="0" presId="urn:microsoft.com/office/officeart/2008/layout/SquareAccentList"/>
    <dgm:cxn modelId="{2E13E42B-6AAE-4899-8D1E-AA9ECA393E43}" type="presParOf" srcId="{7481FF26-E8CE-4D3A-B1DC-B9F1BFAB4D07}" destId="{E7C251C0-3DAC-4C0E-9F41-72C8357F62DD}" srcOrd="1" destOrd="0" presId="urn:microsoft.com/office/officeart/2008/layout/SquareAccentList"/>
    <dgm:cxn modelId="{D8B8495D-0CF2-417D-B416-518C7C15DDC5}" type="presParOf" srcId="{3F9FC882-1D5D-4FA9-B854-D480C9E41B1B}" destId="{41DE929B-8E0C-463F-9C42-1037A046559E}" srcOrd="3" destOrd="0" presId="urn:microsoft.com/office/officeart/2008/layout/SquareAccentList"/>
    <dgm:cxn modelId="{AED6014F-874B-49FD-88CD-26A70A607B03}" type="presParOf" srcId="{41DE929B-8E0C-463F-9C42-1037A046559E}" destId="{B78DA5E3-196A-45FF-86D3-6B35A9FD07B6}" srcOrd="0" destOrd="0" presId="urn:microsoft.com/office/officeart/2008/layout/SquareAccentList"/>
    <dgm:cxn modelId="{E9A47E32-A38C-463B-A652-AD7B646323E1}" type="presParOf" srcId="{41DE929B-8E0C-463F-9C42-1037A046559E}" destId="{5C966524-0DE2-4746-AE20-2217D4A6551F}" srcOrd="1" destOrd="0" presId="urn:microsoft.com/office/officeart/2008/layout/SquareAccentList"/>
    <dgm:cxn modelId="{11D35A29-C845-42F7-BD67-EF2AD42BB1E4}" type="presParOf" srcId="{F902D9E3-78BB-4DAE-A306-6CCCFE2227AD}" destId="{9CC46A8D-84F4-469B-8CDB-F1296602322D}" srcOrd="1" destOrd="0" presId="urn:microsoft.com/office/officeart/2008/layout/SquareAccentList"/>
    <dgm:cxn modelId="{9F841947-0F7A-4ECF-B774-6E2E9375A95B}" type="presParOf" srcId="{9CC46A8D-84F4-469B-8CDB-F1296602322D}" destId="{2E2621BC-1B5B-4826-8E95-5868E1055017}" srcOrd="0" destOrd="0" presId="urn:microsoft.com/office/officeart/2008/layout/SquareAccentList"/>
    <dgm:cxn modelId="{4951ABC1-75FC-4DBE-8E01-7962C4BBACA3}" type="presParOf" srcId="{2E2621BC-1B5B-4826-8E95-5868E1055017}" destId="{2B70352A-60D3-46D2-A783-8A15CDADAB43}" srcOrd="0" destOrd="0" presId="urn:microsoft.com/office/officeart/2008/layout/SquareAccentList"/>
    <dgm:cxn modelId="{F3F6CCE6-5595-49C9-8F20-FA3C2D9C5B6E}" type="presParOf" srcId="{2E2621BC-1B5B-4826-8E95-5868E1055017}" destId="{E330E898-1C07-4333-80AD-B736C4D21515}" srcOrd="1" destOrd="0" presId="urn:microsoft.com/office/officeart/2008/layout/SquareAccentList"/>
    <dgm:cxn modelId="{C719782E-52C4-4211-85B2-EBADBE1C40E2}" type="presParOf" srcId="{2E2621BC-1B5B-4826-8E95-5868E1055017}" destId="{89FAE040-6B7A-46A3-A72D-30BBE62C71BE}" srcOrd="2" destOrd="0" presId="urn:microsoft.com/office/officeart/2008/layout/SquareAccentList"/>
    <dgm:cxn modelId="{43E0B17A-B9F6-46F1-906B-F42049EB0699}" type="presParOf" srcId="{9CC46A8D-84F4-469B-8CDB-F1296602322D}" destId="{27F8ED0D-ED59-44CE-9800-8F29F4DA2414}" srcOrd="1" destOrd="0" presId="urn:microsoft.com/office/officeart/2008/layout/SquareAccentList"/>
    <dgm:cxn modelId="{25757103-1FCB-486D-9538-94FC4D416AE7}" type="presParOf" srcId="{27F8ED0D-ED59-44CE-9800-8F29F4DA2414}" destId="{4E088521-C784-4F81-87F2-420AE9D8C13D}" srcOrd="0" destOrd="0" presId="urn:microsoft.com/office/officeart/2008/layout/SquareAccentList"/>
    <dgm:cxn modelId="{C7140845-D8E2-4E2E-9D7E-2F451A038F30}" type="presParOf" srcId="{4E088521-C784-4F81-87F2-420AE9D8C13D}" destId="{B564C8F1-EA51-41FF-9BDF-3D455C2968C8}" srcOrd="0" destOrd="0" presId="urn:microsoft.com/office/officeart/2008/layout/SquareAccentList"/>
    <dgm:cxn modelId="{EA21B10E-6F9D-4A69-B5B1-069800844055}" type="presParOf" srcId="{4E088521-C784-4F81-87F2-420AE9D8C13D}" destId="{80E2213E-E6F3-4E5C-9F44-94E8CE2714E2}" srcOrd="1" destOrd="0" presId="urn:microsoft.com/office/officeart/2008/layout/SquareAccentList"/>
    <dgm:cxn modelId="{26777CF7-8DA7-48BF-9A1C-FAF6F6C50DC3}" type="presParOf" srcId="{27F8ED0D-ED59-44CE-9800-8F29F4DA2414}" destId="{E4AC216A-08A2-48F1-8D9C-431E83C34174}" srcOrd="1" destOrd="0" presId="urn:microsoft.com/office/officeart/2008/layout/SquareAccentList"/>
    <dgm:cxn modelId="{1439D79C-B32F-4672-84EF-CCD744B9E709}" type="presParOf" srcId="{E4AC216A-08A2-48F1-8D9C-431E83C34174}" destId="{3400581A-62DC-4414-BB64-5F86897F4BE2}" srcOrd="0" destOrd="0" presId="urn:microsoft.com/office/officeart/2008/layout/SquareAccentList"/>
    <dgm:cxn modelId="{392CEF41-01A3-4FB5-9C98-32855A321131}" type="presParOf" srcId="{E4AC216A-08A2-48F1-8D9C-431E83C34174}" destId="{AF01E8A1-C5E0-47EF-B7D7-636ED73C9D97}" srcOrd="1" destOrd="0" presId="urn:microsoft.com/office/officeart/2008/layout/SquareAccentList"/>
    <dgm:cxn modelId="{0E30681E-B050-4656-BB1B-F3745717168C}" type="presParOf" srcId="{27F8ED0D-ED59-44CE-9800-8F29F4DA2414}" destId="{0108ABEC-49A6-42C1-835F-0EF2139A089E}" srcOrd="2" destOrd="0" presId="urn:microsoft.com/office/officeart/2008/layout/SquareAccentList"/>
    <dgm:cxn modelId="{2E4D678F-0B69-4273-AABE-ED299B98A8FE}" type="presParOf" srcId="{0108ABEC-49A6-42C1-835F-0EF2139A089E}" destId="{69044049-27E0-4AE7-9C1B-707D637B9A57}" srcOrd="0" destOrd="0" presId="urn:microsoft.com/office/officeart/2008/layout/SquareAccentList"/>
    <dgm:cxn modelId="{B58035B9-1AB0-4929-A372-2D8BE3DDCE36}" type="presParOf" srcId="{0108ABEC-49A6-42C1-835F-0EF2139A089E}" destId="{A96C5E5C-B42C-49F1-972C-E8D33ECF3101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BA4F54-0839-4EE5-9576-8A894E52A0A4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23C89F76-BAFB-452C-84B0-9B6E85B76016}">
      <dgm:prSet phldrT="[Text]" custT="1"/>
      <dgm:spPr/>
      <dgm:t>
        <a:bodyPr/>
        <a:lstStyle/>
        <a:p>
          <a:r>
            <a:rPr lang="de-DE" sz="3200" dirty="0"/>
            <a:t>Fall 1: Berechnung</a:t>
          </a:r>
          <a:endParaRPr lang="de-DE" sz="4400" dirty="0"/>
        </a:p>
      </dgm:t>
    </dgm:pt>
    <dgm:pt modelId="{DD463786-5963-4CFF-ACA7-9A77ED5DF3EB}" type="parTrans" cxnId="{1D01F7B8-02E6-4520-B391-F58C9B917D51}">
      <dgm:prSet/>
      <dgm:spPr/>
      <dgm:t>
        <a:bodyPr/>
        <a:lstStyle/>
        <a:p>
          <a:endParaRPr lang="de-DE" sz="1100"/>
        </a:p>
      </dgm:t>
    </dgm:pt>
    <dgm:pt modelId="{8E6FE12B-4D0D-44F5-AB1E-6FA576D65C1F}" type="sibTrans" cxnId="{1D01F7B8-02E6-4520-B391-F58C9B917D51}">
      <dgm:prSet/>
      <dgm:spPr/>
      <dgm:t>
        <a:bodyPr/>
        <a:lstStyle/>
        <a:p>
          <a:endParaRPr lang="de-DE" sz="1100"/>
        </a:p>
      </dgm:t>
    </dgm:pt>
    <dgm:pt modelId="{14AE4AD1-065B-484D-BAB2-4FE1B484A113}">
      <dgm:prSet phldrT="[Text]" custT="1"/>
      <dgm:spPr/>
      <dgm:t>
        <a:bodyPr/>
        <a:lstStyle/>
        <a:p>
          <a:r>
            <a:rPr lang="de-DE" sz="1800" dirty="0"/>
            <a:t>Eingabeinformation</a:t>
          </a:r>
        </a:p>
      </dgm:t>
    </dgm:pt>
    <dgm:pt modelId="{7C5F9D9B-950F-4B82-9AA1-EF5D07597923}" type="parTrans" cxnId="{C0FF99DA-3A5C-4A94-A0CF-6EB3FEA39B2E}">
      <dgm:prSet/>
      <dgm:spPr/>
      <dgm:t>
        <a:bodyPr/>
        <a:lstStyle/>
        <a:p>
          <a:endParaRPr lang="de-DE" sz="1100"/>
        </a:p>
      </dgm:t>
    </dgm:pt>
    <dgm:pt modelId="{49C50EE9-E584-4DB0-9500-94FF278C9861}" type="sibTrans" cxnId="{C0FF99DA-3A5C-4A94-A0CF-6EB3FEA39B2E}">
      <dgm:prSet/>
      <dgm:spPr/>
      <dgm:t>
        <a:bodyPr/>
        <a:lstStyle/>
        <a:p>
          <a:endParaRPr lang="de-DE" sz="1100"/>
        </a:p>
      </dgm:t>
    </dgm:pt>
    <dgm:pt modelId="{38E1D456-93C1-485F-BD60-FCF012C71526}">
      <dgm:prSet phldrT="[Text]" custT="1"/>
      <dgm:spPr/>
      <dgm:t>
        <a:bodyPr/>
        <a:lstStyle/>
        <a:p>
          <a:r>
            <a:rPr lang="de-DE" sz="1800" dirty="0"/>
            <a:t>Zahlenfolge: 2,3,4,5,6</a:t>
          </a:r>
        </a:p>
      </dgm:t>
    </dgm:pt>
    <dgm:pt modelId="{2FC2A53F-0D92-4EC8-B4CF-E8338783ABE7}" type="parTrans" cxnId="{6B561ABB-6FA9-4EBD-BE67-0BFBCEEEBC48}">
      <dgm:prSet/>
      <dgm:spPr/>
      <dgm:t>
        <a:bodyPr/>
        <a:lstStyle/>
        <a:p>
          <a:endParaRPr lang="de-DE" sz="1100"/>
        </a:p>
      </dgm:t>
    </dgm:pt>
    <dgm:pt modelId="{F3526D55-AB3A-4242-A55E-1BBF2B97A126}" type="sibTrans" cxnId="{6B561ABB-6FA9-4EBD-BE67-0BFBCEEEBC48}">
      <dgm:prSet/>
      <dgm:spPr/>
      <dgm:t>
        <a:bodyPr/>
        <a:lstStyle/>
        <a:p>
          <a:endParaRPr lang="de-DE" sz="1100"/>
        </a:p>
      </dgm:t>
    </dgm:pt>
    <dgm:pt modelId="{3C64B53D-E7E0-485A-B4C7-1321AD3D79DE}">
      <dgm:prSet phldrT="[Text]" custT="1"/>
      <dgm:spPr/>
      <dgm:t>
        <a:bodyPr/>
        <a:lstStyle/>
        <a:p>
          <a:r>
            <a:rPr lang="de-DE" sz="3200" dirty="0"/>
            <a:t>Fall 2: Bewertung</a:t>
          </a:r>
          <a:endParaRPr lang="de-DE" sz="4400" dirty="0"/>
        </a:p>
      </dgm:t>
    </dgm:pt>
    <dgm:pt modelId="{901BC159-2495-48E1-9830-986FF9960BEE}" type="parTrans" cxnId="{35134F1C-9742-48B4-857B-07D9831F1635}">
      <dgm:prSet/>
      <dgm:spPr/>
      <dgm:t>
        <a:bodyPr/>
        <a:lstStyle/>
        <a:p>
          <a:endParaRPr lang="de-DE" sz="1100"/>
        </a:p>
      </dgm:t>
    </dgm:pt>
    <dgm:pt modelId="{A62CE6AB-C19E-43A6-9163-EB3C8AD3C0B7}" type="sibTrans" cxnId="{35134F1C-9742-48B4-857B-07D9831F1635}">
      <dgm:prSet/>
      <dgm:spPr/>
      <dgm:t>
        <a:bodyPr/>
        <a:lstStyle/>
        <a:p>
          <a:endParaRPr lang="de-DE" sz="1100"/>
        </a:p>
      </dgm:t>
    </dgm:pt>
    <dgm:pt modelId="{CAF074A7-DA32-4B00-A402-7C641D410716}">
      <dgm:prSet phldrT="[Text]" custT="1"/>
      <dgm:spPr/>
      <dgm:t>
        <a:bodyPr/>
        <a:lstStyle/>
        <a:p>
          <a:r>
            <a:rPr lang="de-DE" sz="1800" dirty="0"/>
            <a:t>Eingabeinformation</a:t>
          </a:r>
        </a:p>
      </dgm:t>
    </dgm:pt>
    <dgm:pt modelId="{F021DCD5-DB7C-47F3-8305-30277467DC50}" type="parTrans" cxnId="{AABA7D52-1E63-4D98-9C0A-4517DE99C920}">
      <dgm:prSet/>
      <dgm:spPr/>
      <dgm:t>
        <a:bodyPr/>
        <a:lstStyle/>
        <a:p>
          <a:endParaRPr lang="de-DE" sz="1100"/>
        </a:p>
      </dgm:t>
    </dgm:pt>
    <dgm:pt modelId="{063B3FA2-DB9B-415A-8E83-7D8605178F26}" type="sibTrans" cxnId="{AABA7D52-1E63-4D98-9C0A-4517DE99C920}">
      <dgm:prSet/>
      <dgm:spPr/>
      <dgm:t>
        <a:bodyPr/>
        <a:lstStyle/>
        <a:p>
          <a:endParaRPr lang="de-DE" sz="1100"/>
        </a:p>
      </dgm:t>
    </dgm:pt>
    <dgm:pt modelId="{8E45AD21-25E4-42B7-9A6D-FA28DEDB3D2D}">
      <dgm:prSet phldrT="[Text]" custT="1"/>
      <dgm:spPr/>
      <dgm:t>
        <a:bodyPr/>
        <a:lstStyle/>
        <a:p>
          <a:r>
            <a:rPr lang="de-DE" sz="1800" dirty="0"/>
            <a:t>Bewertungsergebnis</a:t>
          </a:r>
        </a:p>
      </dgm:t>
    </dgm:pt>
    <dgm:pt modelId="{55BB841F-67CF-4179-8271-17657A6C97F8}" type="parTrans" cxnId="{1622AA69-57E1-4E6C-8C58-1C52A9E1D819}">
      <dgm:prSet/>
      <dgm:spPr/>
      <dgm:t>
        <a:bodyPr/>
        <a:lstStyle/>
        <a:p>
          <a:endParaRPr lang="de-DE" sz="1100"/>
        </a:p>
      </dgm:t>
    </dgm:pt>
    <dgm:pt modelId="{A49B3F31-0291-4C24-963C-7C4B9A4A8565}" type="sibTrans" cxnId="{1622AA69-57E1-4E6C-8C58-1C52A9E1D819}">
      <dgm:prSet/>
      <dgm:spPr/>
      <dgm:t>
        <a:bodyPr/>
        <a:lstStyle/>
        <a:p>
          <a:endParaRPr lang="de-DE" sz="1100"/>
        </a:p>
      </dgm:t>
    </dgm:pt>
    <dgm:pt modelId="{F902D9E3-78BB-4DAE-A306-6CCCFE2227AD}" type="pres">
      <dgm:prSet presAssocID="{62BA4F54-0839-4EE5-9576-8A894E52A0A4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de-DE"/>
        </a:p>
      </dgm:t>
    </dgm:pt>
    <dgm:pt modelId="{F51462A2-2FE6-4DCA-81A5-C877D12156B7}" type="pres">
      <dgm:prSet presAssocID="{23C89F76-BAFB-452C-84B0-9B6E85B76016}" presName="root" presStyleCnt="0">
        <dgm:presLayoutVars>
          <dgm:chMax/>
          <dgm:chPref/>
        </dgm:presLayoutVars>
      </dgm:prSet>
      <dgm:spPr/>
    </dgm:pt>
    <dgm:pt modelId="{F8D8D25A-5224-4A4E-842A-3009AC66E5D6}" type="pres">
      <dgm:prSet presAssocID="{23C89F76-BAFB-452C-84B0-9B6E85B76016}" presName="rootComposite" presStyleCnt="0">
        <dgm:presLayoutVars/>
      </dgm:prSet>
      <dgm:spPr/>
    </dgm:pt>
    <dgm:pt modelId="{007F8887-6D10-4EB5-A5DA-D87583C113AB}" type="pres">
      <dgm:prSet presAssocID="{23C89F76-BAFB-452C-84B0-9B6E85B76016}" presName="ParentAccent" presStyleLbl="alignNode1" presStyleIdx="0" presStyleCnt="2"/>
      <dgm:spPr/>
    </dgm:pt>
    <dgm:pt modelId="{6EB5A8AC-56B3-4A17-B856-BC9E9055B836}" type="pres">
      <dgm:prSet presAssocID="{23C89F76-BAFB-452C-84B0-9B6E85B76016}" presName="ParentSmallAccent" presStyleLbl="fgAcc1" presStyleIdx="0" presStyleCnt="2"/>
      <dgm:spPr/>
    </dgm:pt>
    <dgm:pt modelId="{22AE4F34-DFEB-44BF-98CC-C3810E6D705C}" type="pres">
      <dgm:prSet presAssocID="{23C89F76-BAFB-452C-84B0-9B6E85B76016}" presName="Parent" presStyleLbl="revTx" presStyleIdx="0" presStyleCnt="6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F9FC882-1D5D-4FA9-B854-D480C9E41B1B}" type="pres">
      <dgm:prSet presAssocID="{23C89F76-BAFB-452C-84B0-9B6E85B76016}" presName="childShape" presStyleCnt="0">
        <dgm:presLayoutVars>
          <dgm:chMax val="0"/>
          <dgm:chPref val="0"/>
        </dgm:presLayoutVars>
      </dgm:prSet>
      <dgm:spPr/>
    </dgm:pt>
    <dgm:pt modelId="{0D2C7AC7-EB22-459F-A658-19A399615862}" type="pres">
      <dgm:prSet presAssocID="{14AE4AD1-065B-484D-BAB2-4FE1B484A113}" presName="childComposite" presStyleCnt="0">
        <dgm:presLayoutVars>
          <dgm:chMax val="0"/>
          <dgm:chPref val="0"/>
        </dgm:presLayoutVars>
      </dgm:prSet>
      <dgm:spPr/>
    </dgm:pt>
    <dgm:pt modelId="{4C846F9F-BD35-4E19-8DBA-0CB5456396B9}" type="pres">
      <dgm:prSet presAssocID="{14AE4AD1-065B-484D-BAB2-4FE1B484A113}" presName="ChildAccent" presStyleLbl="solidFgAcc1" presStyleIdx="0" presStyleCnt="4"/>
      <dgm:spPr/>
    </dgm:pt>
    <dgm:pt modelId="{B5077258-0C39-412D-AD25-B5CB3DF326B0}" type="pres">
      <dgm:prSet presAssocID="{14AE4AD1-065B-484D-BAB2-4FE1B484A113}" presName="Child" presStyleLbl="revTx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3E9475B-9456-452C-9A97-02BE22FED6F6}" type="pres">
      <dgm:prSet presAssocID="{38E1D456-93C1-485F-BD60-FCF012C71526}" presName="childComposite" presStyleCnt="0">
        <dgm:presLayoutVars>
          <dgm:chMax val="0"/>
          <dgm:chPref val="0"/>
        </dgm:presLayoutVars>
      </dgm:prSet>
      <dgm:spPr/>
    </dgm:pt>
    <dgm:pt modelId="{A5D77796-1710-4ED3-82C9-339A0C9D57D3}" type="pres">
      <dgm:prSet presAssocID="{38E1D456-93C1-485F-BD60-FCF012C71526}" presName="ChildAccent" presStyleLbl="solidFgAcc1" presStyleIdx="1" presStyleCnt="4"/>
      <dgm:spPr/>
    </dgm:pt>
    <dgm:pt modelId="{37432465-E142-4380-B6E2-3D3E3B715680}" type="pres">
      <dgm:prSet presAssocID="{38E1D456-93C1-485F-BD60-FCF012C71526}" presName="Child" presStyleLbl="revTx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CC46A8D-84F4-469B-8CDB-F1296602322D}" type="pres">
      <dgm:prSet presAssocID="{3C64B53D-E7E0-485A-B4C7-1321AD3D79DE}" presName="root" presStyleCnt="0">
        <dgm:presLayoutVars>
          <dgm:chMax/>
          <dgm:chPref/>
        </dgm:presLayoutVars>
      </dgm:prSet>
      <dgm:spPr/>
    </dgm:pt>
    <dgm:pt modelId="{2E2621BC-1B5B-4826-8E95-5868E1055017}" type="pres">
      <dgm:prSet presAssocID="{3C64B53D-E7E0-485A-B4C7-1321AD3D79DE}" presName="rootComposite" presStyleCnt="0">
        <dgm:presLayoutVars/>
      </dgm:prSet>
      <dgm:spPr/>
    </dgm:pt>
    <dgm:pt modelId="{2B70352A-60D3-46D2-A783-8A15CDADAB43}" type="pres">
      <dgm:prSet presAssocID="{3C64B53D-E7E0-485A-B4C7-1321AD3D79DE}" presName="ParentAccent" presStyleLbl="alignNode1" presStyleIdx="1" presStyleCnt="2"/>
      <dgm:spPr/>
    </dgm:pt>
    <dgm:pt modelId="{E330E898-1C07-4333-80AD-B736C4D21515}" type="pres">
      <dgm:prSet presAssocID="{3C64B53D-E7E0-485A-B4C7-1321AD3D79DE}" presName="ParentSmallAccent" presStyleLbl="fgAcc1" presStyleIdx="1" presStyleCnt="2"/>
      <dgm:spPr/>
    </dgm:pt>
    <dgm:pt modelId="{89FAE040-6B7A-46A3-A72D-30BBE62C71BE}" type="pres">
      <dgm:prSet presAssocID="{3C64B53D-E7E0-485A-B4C7-1321AD3D79DE}" presName="Parent" presStyleLbl="revTx" presStyleIdx="3" presStyleCnt="6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F8ED0D-ED59-44CE-9800-8F29F4DA2414}" type="pres">
      <dgm:prSet presAssocID="{3C64B53D-E7E0-485A-B4C7-1321AD3D79DE}" presName="childShape" presStyleCnt="0">
        <dgm:presLayoutVars>
          <dgm:chMax val="0"/>
          <dgm:chPref val="0"/>
        </dgm:presLayoutVars>
      </dgm:prSet>
      <dgm:spPr/>
    </dgm:pt>
    <dgm:pt modelId="{4E088521-C784-4F81-87F2-420AE9D8C13D}" type="pres">
      <dgm:prSet presAssocID="{CAF074A7-DA32-4B00-A402-7C641D410716}" presName="childComposite" presStyleCnt="0">
        <dgm:presLayoutVars>
          <dgm:chMax val="0"/>
          <dgm:chPref val="0"/>
        </dgm:presLayoutVars>
      </dgm:prSet>
      <dgm:spPr/>
    </dgm:pt>
    <dgm:pt modelId="{B564C8F1-EA51-41FF-9BDF-3D455C2968C8}" type="pres">
      <dgm:prSet presAssocID="{CAF074A7-DA32-4B00-A402-7C641D410716}" presName="ChildAccent" presStyleLbl="solidFgAcc1" presStyleIdx="2" presStyleCnt="4"/>
      <dgm:spPr/>
    </dgm:pt>
    <dgm:pt modelId="{80E2213E-E6F3-4E5C-9F44-94E8CE2714E2}" type="pres">
      <dgm:prSet presAssocID="{CAF074A7-DA32-4B00-A402-7C641D410716}" presName="Child" presStyleLbl="revTx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08ABEC-49A6-42C1-835F-0EF2139A089E}" type="pres">
      <dgm:prSet presAssocID="{8E45AD21-25E4-42B7-9A6D-FA28DEDB3D2D}" presName="childComposite" presStyleCnt="0">
        <dgm:presLayoutVars>
          <dgm:chMax val="0"/>
          <dgm:chPref val="0"/>
        </dgm:presLayoutVars>
      </dgm:prSet>
      <dgm:spPr/>
    </dgm:pt>
    <dgm:pt modelId="{69044049-27E0-4AE7-9C1B-707D637B9A57}" type="pres">
      <dgm:prSet presAssocID="{8E45AD21-25E4-42B7-9A6D-FA28DEDB3D2D}" presName="ChildAccent" presStyleLbl="solidFgAcc1" presStyleIdx="3" presStyleCnt="4"/>
      <dgm:spPr/>
    </dgm:pt>
    <dgm:pt modelId="{A96C5E5C-B42C-49F1-972C-E8D33ECF3101}" type="pres">
      <dgm:prSet presAssocID="{8E45AD21-25E4-42B7-9A6D-FA28DEDB3D2D}" presName="Child" presStyleLbl="revTx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11BCFB7-2297-451C-A189-91073931AFE8}" type="presOf" srcId="{3C64B53D-E7E0-485A-B4C7-1321AD3D79DE}" destId="{89FAE040-6B7A-46A3-A72D-30BBE62C71BE}" srcOrd="0" destOrd="0" presId="urn:microsoft.com/office/officeart/2008/layout/SquareAccentList"/>
    <dgm:cxn modelId="{6B561ABB-6FA9-4EBD-BE67-0BFBCEEEBC48}" srcId="{23C89F76-BAFB-452C-84B0-9B6E85B76016}" destId="{38E1D456-93C1-485F-BD60-FCF012C71526}" srcOrd="1" destOrd="0" parTransId="{2FC2A53F-0D92-4EC8-B4CF-E8338783ABE7}" sibTransId="{F3526D55-AB3A-4242-A55E-1BBF2B97A126}"/>
    <dgm:cxn modelId="{1D01F7B8-02E6-4520-B391-F58C9B917D51}" srcId="{62BA4F54-0839-4EE5-9576-8A894E52A0A4}" destId="{23C89F76-BAFB-452C-84B0-9B6E85B76016}" srcOrd="0" destOrd="0" parTransId="{DD463786-5963-4CFF-ACA7-9A77ED5DF3EB}" sibTransId="{8E6FE12B-4D0D-44F5-AB1E-6FA576D65C1F}"/>
    <dgm:cxn modelId="{D08585DA-3CD0-472F-A4DB-16B7B0B87837}" type="presOf" srcId="{23C89F76-BAFB-452C-84B0-9B6E85B76016}" destId="{22AE4F34-DFEB-44BF-98CC-C3810E6D705C}" srcOrd="0" destOrd="0" presId="urn:microsoft.com/office/officeart/2008/layout/SquareAccentList"/>
    <dgm:cxn modelId="{CBFBEE04-3CB5-4C2E-8234-8D10E3B2D6D5}" type="presOf" srcId="{62BA4F54-0839-4EE5-9576-8A894E52A0A4}" destId="{F902D9E3-78BB-4DAE-A306-6CCCFE2227AD}" srcOrd="0" destOrd="0" presId="urn:microsoft.com/office/officeart/2008/layout/SquareAccentList"/>
    <dgm:cxn modelId="{1622AA69-57E1-4E6C-8C58-1C52A9E1D819}" srcId="{3C64B53D-E7E0-485A-B4C7-1321AD3D79DE}" destId="{8E45AD21-25E4-42B7-9A6D-FA28DEDB3D2D}" srcOrd="1" destOrd="0" parTransId="{55BB841F-67CF-4179-8271-17657A6C97F8}" sibTransId="{A49B3F31-0291-4C24-963C-7C4B9A4A8565}"/>
    <dgm:cxn modelId="{00F391A2-EDDF-4112-9C76-AC99DD0F580B}" type="presOf" srcId="{38E1D456-93C1-485F-BD60-FCF012C71526}" destId="{37432465-E142-4380-B6E2-3D3E3B715680}" srcOrd="0" destOrd="0" presId="urn:microsoft.com/office/officeart/2008/layout/SquareAccentList"/>
    <dgm:cxn modelId="{ED75A977-468F-4ACD-B330-74551306F254}" type="presOf" srcId="{CAF074A7-DA32-4B00-A402-7C641D410716}" destId="{80E2213E-E6F3-4E5C-9F44-94E8CE2714E2}" srcOrd="0" destOrd="0" presId="urn:microsoft.com/office/officeart/2008/layout/SquareAccentList"/>
    <dgm:cxn modelId="{59D88D76-C44E-4224-9D7A-041BF1F2B981}" type="presOf" srcId="{14AE4AD1-065B-484D-BAB2-4FE1B484A113}" destId="{B5077258-0C39-412D-AD25-B5CB3DF326B0}" srcOrd="0" destOrd="0" presId="urn:microsoft.com/office/officeart/2008/layout/SquareAccentList"/>
    <dgm:cxn modelId="{AABA7D52-1E63-4D98-9C0A-4517DE99C920}" srcId="{3C64B53D-E7E0-485A-B4C7-1321AD3D79DE}" destId="{CAF074A7-DA32-4B00-A402-7C641D410716}" srcOrd="0" destOrd="0" parTransId="{F021DCD5-DB7C-47F3-8305-30277467DC50}" sibTransId="{063B3FA2-DB9B-415A-8E83-7D8605178F26}"/>
    <dgm:cxn modelId="{35134F1C-9742-48B4-857B-07D9831F1635}" srcId="{62BA4F54-0839-4EE5-9576-8A894E52A0A4}" destId="{3C64B53D-E7E0-485A-B4C7-1321AD3D79DE}" srcOrd="1" destOrd="0" parTransId="{901BC159-2495-48E1-9830-986FF9960BEE}" sibTransId="{A62CE6AB-C19E-43A6-9163-EB3C8AD3C0B7}"/>
    <dgm:cxn modelId="{69CB2FF7-209C-4FA5-B9ED-9B78928B8106}" type="presOf" srcId="{8E45AD21-25E4-42B7-9A6D-FA28DEDB3D2D}" destId="{A96C5E5C-B42C-49F1-972C-E8D33ECF3101}" srcOrd="0" destOrd="0" presId="urn:microsoft.com/office/officeart/2008/layout/SquareAccentList"/>
    <dgm:cxn modelId="{C0FF99DA-3A5C-4A94-A0CF-6EB3FEA39B2E}" srcId="{23C89F76-BAFB-452C-84B0-9B6E85B76016}" destId="{14AE4AD1-065B-484D-BAB2-4FE1B484A113}" srcOrd="0" destOrd="0" parTransId="{7C5F9D9B-950F-4B82-9AA1-EF5D07597923}" sibTransId="{49C50EE9-E584-4DB0-9500-94FF278C9861}"/>
    <dgm:cxn modelId="{7D751188-96B8-4257-B855-B068E4788E5B}" type="presParOf" srcId="{F902D9E3-78BB-4DAE-A306-6CCCFE2227AD}" destId="{F51462A2-2FE6-4DCA-81A5-C877D12156B7}" srcOrd="0" destOrd="0" presId="urn:microsoft.com/office/officeart/2008/layout/SquareAccentList"/>
    <dgm:cxn modelId="{3276F117-227A-408F-8EBC-53F77F742788}" type="presParOf" srcId="{F51462A2-2FE6-4DCA-81A5-C877D12156B7}" destId="{F8D8D25A-5224-4A4E-842A-3009AC66E5D6}" srcOrd="0" destOrd="0" presId="urn:microsoft.com/office/officeart/2008/layout/SquareAccentList"/>
    <dgm:cxn modelId="{7EB9AE16-C78D-45C7-A351-FDDDEE49E39F}" type="presParOf" srcId="{F8D8D25A-5224-4A4E-842A-3009AC66E5D6}" destId="{007F8887-6D10-4EB5-A5DA-D87583C113AB}" srcOrd="0" destOrd="0" presId="urn:microsoft.com/office/officeart/2008/layout/SquareAccentList"/>
    <dgm:cxn modelId="{21FD8F87-4AE7-4743-874F-1432356BF311}" type="presParOf" srcId="{F8D8D25A-5224-4A4E-842A-3009AC66E5D6}" destId="{6EB5A8AC-56B3-4A17-B856-BC9E9055B836}" srcOrd="1" destOrd="0" presId="urn:microsoft.com/office/officeart/2008/layout/SquareAccentList"/>
    <dgm:cxn modelId="{2FCF93B3-DAE7-42E7-ADC4-8AA53CE7438F}" type="presParOf" srcId="{F8D8D25A-5224-4A4E-842A-3009AC66E5D6}" destId="{22AE4F34-DFEB-44BF-98CC-C3810E6D705C}" srcOrd="2" destOrd="0" presId="urn:microsoft.com/office/officeart/2008/layout/SquareAccentList"/>
    <dgm:cxn modelId="{5D0B2AE8-C95A-43A9-8049-D1379311D1B3}" type="presParOf" srcId="{F51462A2-2FE6-4DCA-81A5-C877D12156B7}" destId="{3F9FC882-1D5D-4FA9-B854-D480C9E41B1B}" srcOrd="1" destOrd="0" presId="urn:microsoft.com/office/officeart/2008/layout/SquareAccentList"/>
    <dgm:cxn modelId="{9AD02BBD-F041-49A3-B4BD-4C1ABFA03DBA}" type="presParOf" srcId="{3F9FC882-1D5D-4FA9-B854-D480C9E41B1B}" destId="{0D2C7AC7-EB22-459F-A658-19A399615862}" srcOrd="0" destOrd="0" presId="urn:microsoft.com/office/officeart/2008/layout/SquareAccentList"/>
    <dgm:cxn modelId="{1A93BD6B-6A91-40D1-B09F-A208F13AB327}" type="presParOf" srcId="{0D2C7AC7-EB22-459F-A658-19A399615862}" destId="{4C846F9F-BD35-4E19-8DBA-0CB5456396B9}" srcOrd="0" destOrd="0" presId="urn:microsoft.com/office/officeart/2008/layout/SquareAccentList"/>
    <dgm:cxn modelId="{5A6B2402-733B-4F0C-BBF2-9712F7E5AD3F}" type="presParOf" srcId="{0D2C7AC7-EB22-459F-A658-19A399615862}" destId="{B5077258-0C39-412D-AD25-B5CB3DF326B0}" srcOrd="1" destOrd="0" presId="urn:microsoft.com/office/officeart/2008/layout/SquareAccentList"/>
    <dgm:cxn modelId="{A0F315AF-75A2-430A-B888-221F6266D6A1}" type="presParOf" srcId="{3F9FC882-1D5D-4FA9-B854-D480C9E41B1B}" destId="{93E9475B-9456-452C-9A97-02BE22FED6F6}" srcOrd="1" destOrd="0" presId="urn:microsoft.com/office/officeart/2008/layout/SquareAccentList"/>
    <dgm:cxn modelId="{5C8FABC8-8749-4A49-A301-4072F1E36961}" type="presParOf" srcId="{93E9475B-9456-452C-9A97-02BE22FED6F6}" destId="{A5D77796-1710-4ED3-82C9-339A0C9D57D3}" srcOrd="0" destOrd="0" presId="urn:microsoft.com/office/officeart/2008/layout/SquareAccentList"/>
    <dgm:cxn modelId="{660B75B1-F20F-4205-9696-4F9036BBD717}" type="presParOf" srcId="{93E9475B-9456-452C-9A97-02BE22FED6F6}" destId="{37432465-E142-4380-B6E2-3D3E3B715680}" srcOrd="1" destOrd="0" presId="urn:microsoft.com/office/officeart/2008/layout/SquareAccentList"/>
    <dgm:cxn modelId="{11D35A29-C845-42F7-BD67-EF2AD42BB1E4}" type="presParOf" srcId="{F902D9E3-78BB-4DAE-A306-6CCCFE2227AD}" destId="{9CC46A8D-84F4-469B-8CDB-F1296602322D}" srcOrd="1" destOrd="0" presId="urn:microsoft.com/office/officeart/2008/layout/SquareAccentList"/>
    <dgm:cxn modelId="{9F841947-0F7A-4ECF-B774-6E2E9375A95B}" type="presParOf" srcId="{9CC46A8D-84F4-469B-8CDB-F1296602322D}" destId="{2E2621BC-1B5B-4826-8E95-5868E1055017}" srcOrd="0" destOrd="0" presId="urn:microsoft.com/office/officeart/2008/layout/SquareAccentList"/>
    <dgm:cxn modelId="{4951ABC1-75FC-4DBE-8E01-7962C4BBACA3}" type="presParOf" srcId="{2E2621BC-1B5B-4826-8E95-5868E1055017}" destId="{2B70352A-60D3-46D2-A783-8A15CDADAB43}" srcOrd="0" destOrd="0" presId="urn:microsoft.com/office/officeart/2008/layout/SquareAccentList"/>
    <dgm:cxn modelId="{F3F6CCE6-5595-49C9-8F20-FA3C2D9C5B6E}" type="presParOf" srcId="{2E2621BC-1B5B-4826-8E95-5868E1055017}" destId="{E330E898-1C07-4333-80AD-B736C4D21515}" srcOrd="1" destOrd="0" presId="urn:microsoft.com/office/officeart/2008/layout/SquareAccentList"/>
    <dgm:cxn modelId="{C719782E-52C4-4211-85B2-EBADBE1C40E2}" type="presParOf" srcId="{2E2621BC-1B5B-4826-8E95-5868E1055017}" destId="{89FAE040-6B7A-46A3-A72D-30BBE62C71BE}" srcOrd="2" destOrd="0" presId="urn:microsoft.com/office/officeart/2008/layout/SquareAccentList"/>
    <dgm:cxn modelId="{43E0B17A-B9F6-46F1-906B-F42049EB0699}" type="presParOf" srcId="{9CC46A8D-84F4-469B-8CDB-F1296602322D}" destId="{27F8ED0D-ED59-44CE-9800-8F29F4DA2414}" srcOrd="1" destOrd="0" presId="urn:microsoft.com/office/officeart/2008/layout/SquareAccentList"/>
    <dgm:cxn modelId="{25757103-1FCB-486D-9538-94FC4D416AE7}" type="presParOf" srcId="{27F8ED0D-ED59-44CE-9800-8F29F4DA2414}" destId="{4E088521-C784-4F81-87F2-420AE9D8C13D}" srcOrd="0" destOrd="0" presId="urn:microsoft.com/office/officeart/2008/layout/SquareAccentList"/>
    <dgm:cxn modelId="{C7140845-D8E2-4E2E-9D7E-2F451A038F30}" type="presParOf" srcId="{4E088521-C784-4F81-87F2-420AE9D8C13D}" destId="{B564C8F1-EA51-41FF-9BDF-3D455C2968C8}" srcOrd="0" destOrd="0" presId="urn:microsoft.com/office/officeart/2008/layout/SquareAccentList"/>
    <dgm:cxn modelId="{EA21B10E-6F9D-4A69-B5B1-069800844055}" type="presParOf" srcId="{4E088521-C784-4F81-87F2-420AE9D8C13D}" destId="{80E2213E-E6F3-4E5C-9F44-94E8CE2714E2}" srcOrd="1" destOrd="0" presId="urn:microsoft.com/office/officeart/2008/layout/SquareAccentList"/>
    <dgm:cxn modelId="{0E30681E-B050-4656-BB1B-F3745717168C}" type="presParOf" srcId="{27F8ED0D-ED59-44CE-9800-8F29F4DA2414}" destId="{0108ABEC-49A6-42C1-835F-0EF2139A089E}" srcOrd="1" destOrd="0" presId="urn:microsoft.com/office/officeart/2008/layout/SquareAccentList"/>
    <dgm:cxn modelId="{2E4D678F-0B69-4273-AABE-ED299B98A8FE}" type="presParOf" srcId="{0108ABEC-49A6-42C1-835F-0EF2139A089E}" destId="{69044049-27E0-4AE7-9C1B-707D637B9A57}" srcOrd="0" destOrd="0" presId="urn:microsoft.com/office/officeart/2008/layout/SquareAccentList"/>
    <dgm:cxn modelId="{B58035B9-1AB0-4929-A372-2D8BE3DDCE36}" type="presParOf" srcId="{0108ABEC-49A6-42C1-835F-0EF2139A089E}" destId="{A96C5E5C-B42C-49F1-972C-E8D33ECF3101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Eingabe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F04701DA-3B91-470B-A555-4B26D2AE7C5B}">
      <dgm:prSet phldrT="[Text]"/>
      <dgm:spPr/>
      <dgm:t>
        <a:bodyPr/>
        <a:lstStyle/>
        <a:p>
          <a:r>
            <a:rPr lang="de-DE" dirty="0"/>
            <a:t>Internes Mapping</a:t>
          </a:r>
        </a:p>
      </dgm:t>
    </dgm:pt>
    <dgm:pt modelId="{C7D613F5-A955-4BEF-A064-9B575F6E0704}" type="parTrans" cxnId="{2668EFB5-6646-4980-88F9-EFA8E71D5ECE}">
      <dgm:prSet/>
      <dgm:spPr/>
      <dgm:t>
        <a:bodyPr/>
        <a:lstStyle/>
        <a:p>
          <a:endParaRPr lang="de-DE"/>
        </a:p>
      </dgm:t>
    </dgm:pt>
    <dgm:pt modelId="{4CF55DCA-DAC6-4CE0-A3BC-028B3B49A34E}" type="sibTrans" cxnId="{2668EFB5-6646-4980-88F9-EFA8E71D5ECE}">
      <dgm:prSet/>
      <dgm:spPr/>
      <dgm:t>
        <a:bodyPr/>
        <a:lstStyle/>
        <a:p>
          <a:endParaRPr lang="de-DE"/>
        </a:p>
      </dgm:t>
    </dgm:pt>
    <dgm:pt modelId="{E639E93D-0917-4077-AE25-8ED00F563C15}">
      <dgm:prSet phldrT="[Text]"/>
      <dgm:spPr/>
      <dgm:t>
        <a:bodyPr/>
        <a:lstStyle/>
        <a:p>
          <a:r>
            <a:rPr lang="de-DE" dirty="0"/>
            <a:t>Berechnung</a:t>
          </a:r>
        </a:p>
      </dgm:t>
    </dgm:pt>
    <dgm:pt modelId="{FC879771-9A91-4AF8-965A-03B79B80CC89}" type="parTrans" cxnId="{7B2B2C95-62AE-4F60-BE1C-F8E362CC3F0C}">
      <dgm:prSet/>
      <dgm:spPr/>
      <dgm:t>
        <a:bodyPr/>
        <a:lstStyle/>
        <a:p>
          <a:endParaRPr lang="de-DE"/>
        </a:p>
      </dgm:t>
    </dgm:pt>
    <dgm:pt modelId="{F8B8CCE0-E300-4DFA-8071-3B6A2CE61623}" type="sibTrans" cxnId="{7B2B2C95-62AE-4F60-BE1C-F8E362CC3F0C}">
      <dgm:prSet/>
      <dgm:spPr/>
      <dgm:t>
        <a:bodyPr/>
        <a:lstStyle/>
        <a:p>
          <a:endParaRPr lang="de-DE"/>
        </a:p>
      </dgm:t>
    </dgm:pt>
    <dgm:pt modelId="{9A41F7A5-F479-42C4-A6FC-6272D7772DB8}">
      <dgm:prSet phldrT="[Text]"/>
      <dgm:spPr/>
      <dgm:t>
        <a:bodyPr/>
        <a:lstStyle/>
        <a:p>
          <a:r>
            <a:rPr lang="de-DE" dirty="0"/>
            <a:t>Externes Mapping</a:t>
          </a:r>
        </a:p>
      </dgm:t>
    </dgm:pt>
    <dgm:pt modelId="{80633AF2-A15C-43E8-BB76-FB14DF4E482A}" type="parTrans" cxnId="{F94CC21B-3C88-4EC2-95D2-9A1DE7F6ED09}">
      <dgm:prSet/>
      <dgm:spPr/>
      <dgm:t>
        <a:bodyPr/>
        <a:lstStyle/>
        <a:p>
          <a:endParaRPr lang="de-DE"/>
        </a:p>
      </dgm:t>
    </dgm:pt>
    <dgm:pt modelId="{F6597141-3982-4709-BAE9-11147D07BDE1}" type="sibTrans" cxnId="{F94CC21B-3C88-4EC2-95D2-9A1DE7F6ED09}">
      <dgm:prSet/>
      <dgm:spPr/>
      <dgm:t>
        <a:bodyPr/>
        <a:lstStyle/>
        <a:p>
          <a:endParaRPr lang="de-DE"/>
        </a:p>
      </dgm:t>
    </dgm:pt>
    <dgm:pt modelId="{B79AE044-8280-4584-9031-C131D16B743C}">
      <dgm:prSet phldrT="[Text]"/>
      <dgm:spPr/>
      <dgm:t>
        <a:bodyPr/>
        <a:lstStyle/>
        <a:p>
          <a:r>
            <a:rPr lang="de-DE" dirty="0"/>
            <a:t>Ausgabe</a:t>
          </a:r>
        </a:p>
      </dgm:t>
    </dgm:pt>
    <dgm:pt modelId="{594FE68E-5842-44D4-AECC-EC066DE1989D}" type="parTrans" cxnId="{1F52B982-9623-45B5-A468-A5FC77E5BB4C}">
      <dgm:prSet/>
      <dgm:spPr/>
      <dgm:t>
        <a:bodyPr/>
        <a:lstStyle/>
        <a:p>
          <a:endParaRPr lang="de-DE"/>
        </a:p>
      </dgm:t>
    </dgm:pt>
    <dgm:pt modelId="{9DBEA0A3-662C-4E93-B61E-CC63AA3EB876}" type="sibTrans" cxnId="{1F52B982-9623-45B5-A468-A5FC77E5BB4C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37681E-5245-43ED-A2E3-722719F6F5B4}" type="pres">
      <dgm:prSet presAssocID="{8B757F06-6712-4ACF-A300-9EC93E466BC3}" presName="parTxOnlySpace" presStyleCnt="0"/>
      <dgm:spPr/>
    </dgm:pt>
    <dgm:pt modelId="{69053871-FF8A-4DFC-8E4C-01DDC6D0437A}" type="pres">
      <dgm:prSet presAssocID="{F04701DA-3B91-470B-A555-4B26D2AE7C5B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5C076B2-ED2F-4CD0-B28D-99F89EDAB47D}" type="pres">
      <dgm:prSet presAssocID="{4CF55DCA-DAC6-4CE0-A3BC-028B3B49A34E}" presName="parTxOnlySpace" presStyleCnt="0"/>
      <dgm:spPr/>
    </dgm:pt>
    <dgm:pt modelId="{23477B8D-8061-4500-A954-FF68AFE901E6}" type="pres">
      <dgm:prSet presAssocID="{E639E93D-0917-4077-AE25-8ED00F563C1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0543B4-B845-41BC-BD69-FFF437B6C48A}" type="pres">
      <dgm:prSet presAssocID="{F8B8CCE0-E300-4DFA-8071-3B6A2CE61623}" presName="parTxOnlySpace" presStyleCnt="0"/>
      <dgm:spPr/>
    </dgm:pt>
    <dgm:pt modelId="{FC3AC65E-735E-4A7E-92EA-757D1CFCFBEF}" type="pres">
      <dgm:prSet presAssocID="{9A41F7A5-F479-42C4-A6FC-6272D7772DB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157F366-881D-45F8-BA32-64654BCBECDD}" type="pres">
      <dgm:prSet presAssocID="{F6597141-3982-4709-BAE9-11147D07BDE1}" presName="parTxOnlySpace" presStyleCnt="0"/>
      <dgm:spPr/>
    </dgm:pt>
    <dgm:pt modelId="{B1A6F42E-DBEE-40B1-8672-249F8C89556E}" type="pres">
      <dgm:prSet presAssocID="{B79AE044-8280-4584-9031-C131D16B743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1F52B982-9623-45B5-A468-A5FC77E5BB4C}" srcId="{97174BDC-EF27-46DE-B800-C567F2B03E68}" destId="{B79AE044-8280-4584-9031-C131D16B743C}" srcOrd="4" destOrd="0" parTransId="{594FE68E-5842-44D4-AECC-EC066DE1989D}" sibTransId="{9DBEA0A3-662C-4E93-B61E-CC63AA3EB876}"/>
    <dgm:cxn modelId="{F94CC21B-3C88-4EC2-95D2-9A1DE7F6ED09}" srcId="{97174BDC-EF27-46DE-B800-C567F2B03E68}" destId="{9A41F7A5-F479-42C4-A6FC-6272D7772DB8}" srcOrd="3" destOrd="0" parTransId="{80633AF2-A15C-43E8-BB76-FB14DF4E482A}" sibTransId="{F6597141-3982-4709-BAE9-11147D07BDE1}"/>
    <dgm:cxn modelId="{76D00331-B218-4EE5-823B-CBB2EC2FBCB6}" type="presOf" srcId="{F04701DA-3B91-470B-A555-4B26D2AE7C5B}" destId="{69053871-FF8A-4DFC-8E4C-01DDC6D0437A}" srcOrd="0" destOrd="0" presId="urn:microsoft.com/office/officeart/2005/8/layout/chevron1"/>
    <dgm:cxn modelId="{D0A91592-ADF6-4068-8F6B-836DC90AC0D4}" type="presOf" srcId="{9A41F7A5-F479-42C4-A6FC-6272D7772DB8}" destId="{FC3AC65E-735E-4A7E-92EA-757D1CFCFBEF}" srcOrd="0" destOrd="0" presId="urn:microsoft.com/office/officeart/2005/8/layout/chevron1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7B2B2C95-62AE-4F60-BE1C-F8E362CC3F0C}" srcId="{97174BDC-EF27-46DE-B800-C567F2B03E68}" destId="{E639E93D-0917-4077-AE25-8ED00F563C15}" srcOrd="2" destOrd="0" parTransId="{FC879771-9A91-4AF8-965A-03B79B80CC89}" sibTransId="{F8B8CCE0-E300-4DFA-8071-3B6A2CE61623}"/>
    <dgm:cxn modelId="{2668EFB5-6646-4980-88F9-EFA8E71D5ECE}" srcId="{97174BDC-EF27-46DE-B800-C567F2B03E68}" destId="{F04701DA-3B91-470B-A555-4B26D2AE7C5B}" srcOrd="1" destOrd="0" parTransId="{C7D613F5-A955-4BEF-A064-9B575F6E0704}" sibTransId="{4CF55DCA-DAC6-4CE0-A3BC-028B3B49A34E}"/>
    <dgm:cxn modelId="{5715D554-D548-4C81-A2E2-33757AEA052E}" type="presOf" srcId="{B79AE044-8280-4584-9031-C131D16B743C}" destId="{B1A6F42E-DBEE-40B1-8672-249F8C89556E}" srcOrd="0" destOrd="0" presId="urn:microsoft.com/office/officeart/2005/8/layout/chevron1"/>
    <dgm:cxn modelId="{F5BCF2B7-72E1-4949-8983-9979D05830BF}" type="presOf" srcId="{E639E93D-0917-4077-AE25-8ED00F563C15}" destId="{23477B8D-8061-4500-A954-FF68AFE901E6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  <dgm:cxn modelId="{50AAB0CD-37B5-4696-BF76-B7FA9D988E10}" type="presParOf" srcId="{4AD9AB2C-5862-46B3-96FB-9C01D22CBF79}" destId="{D537681E-5245-43ED-A2E3-722719F6F5B4}" srcOrd="1" destOrd="0" presId="urn:microsoft.com/office/officeart/2005/8/layout/chevron1"/>
    <dgm:cxn modelId="{5C444BEC-A468-4423-82A0-64EA14E9A779}" type="presParOf" srcId="{4AD9AB2C-5862-46B3-96FB-9C01D22CBF79}" destId="{69053871-FF8A-4DFC-8E4C-01DDC6D0437A}" srcOrd="2" destOrd="0" presId="urn:microsoft.com/office/officeart/2005/8/layout/chevron1"/>
    <dgm:cxn modelId="{0F3D2E1A-C432-4747-9B6C-D7EF9B7AFE4B}" type="presParOf" srcId="{4AD9AB2C-5862-46B3-96FB-9C01D22CBF79}" destId="{F5C076B2-ED2F-4CD0-B28D-99F89EDAB47D}" srcOrd="3" destOrd="0" presId="urn:microsoft.com/office/officeart/2005/8/layout/chevron1"/>
    <dgm:cxn modelId="{619B970E-906F-4028-A397-86606248B196}" type="presParOf" srcId="{4AD9AB2C-5862-46B3-96FB-9C01D22CBF79}" destId="{23477B8D-8061-4500-A954-FF68AFE901E6}" srcOrd="4" destOrd="0" presId="urn:microsoft.com/office/officeart/2005/8/layout/chevron1"/>
    <dgm:cxn modelId="{BE1A4688-C157-460D-9303-CF2DA37DF384}" type="presParOf" srcId="{4AD9AB2C-5862-46B3-96FB-9C01D22CBF79}" destId="{6A0543B4-B845-41BC-BD69-FFF437B6C48A}" srcOrd="5" destOrd="0" presId="urn:microsoft.com/office/officeart/2005/8/layout/chevron1"/>
    <dgm:cxn modelId="{E45A8CDA-55E5-4340-B336-C11D5BEAD2DE}" type="presParOf" srcId="{4AD9AB2C-5862-46B3-96FB-9C01D22CBF79}" destId="{FC3AC65E-735E-4A7E-92EA-757D1CFCFBEF}" srcOrd="6" destOrd="0" presId="urn:microsoft.com/office/officeart/2005/8/layout/chevron1"/>
    <dgm:cxn modelId="{A1231E58-8848-487A-ADDA-613C13B2ED45}" type="presParOf" srcId="{4AD9AB2C-5862-46B3-96FB-9C01D22CBF79}" destId="{C157F366-881D-45F8-BA32-64654BCBECDD}" srcOrd="7" destOrd="0" presId="urn:microsoft.com/office/officeart/2005/8/layout/chevron1"/>
    <dgm:cxn modelId="{46B19CFB-2D8D-4E3F-BD05-51FE5679D466}" type="presParOf" srcId="{4AD9AB2C-5862-46B3-96FB-9C01D22CBF79}" destId="{B1A6F42E-DBEE-40B1-8672-249F8C89556E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7174BDC-EF27-46DE-B800-C567F2B03E68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D43DFAA4-611B-4CE4-9E63-809CF7EAAD2E}">
      <dgm:prSet phldrT="[Text]"/>
      <dgm:spPr/>
      <dgm:t>
        <a:bodyPr/>
        <a:lstStyle/>
        <a:p>
          <a:r>
            <a:rPr lang="de-DE" dirty="0"/>
            <a:t>MVP</a:t>
          </a:r>
        </a:p>
      </dgm:t>
    </dgm:pt>
    <dgm:pt modelId="{AD0614B1-52A1-4ED4-AC26-4A0163D576F6}" type="parTrans" cxnId="{43D4399E-13E9-48EB-A586-2DAE8C55BCDD}">
      <dgm:prSet/>
      <dgm:spPr/>
      <dgm:t>
        <a:bodyPr/>
        <a:lstStyle/>
        <a:p>
          <a:endParaRPr lang="de-DE"/>
        </a:p>
      </dgm:t>
    </dgm:pt>
    <dgm:pt modelId="{8B757F06-6712-4ACF-A300-9EC93E466BC3}" type="sibTrans" cxnId="{43D4399E-13E9-48EB-A586-2DAE8C55BCDD}">
      <dgm:prSet/>
      <dgm:spPr/>
      <dgm:t>
        <a:bodyPr/>
        <a:lstStyle/>
        <a:p>
          <a:endParaRPr lang="de-DE"/>
        </a:p>
      </dgm:t>
    </dgm:pt>
    <dgm:pt modelId="{4AD9AB2C-5862-46B3-96FB-9C01D22CBF79}" type="pres">
      <dgm:prSet presAssocID="{97174BDC-EF27-46DE-B800-C567F2B03E68}" presName="Name0" presStyleCnt="0">
        <dgm:presLayoutVars>
          <dgm:dir/>
          <dgm:animLvl val="lvl"/>
          <dgm:resizeHandles val="exact"/>
        </dgm:presLayoutVars>
      </dgm:prSet>
      <dgm:spPr/>
    </dgm:pt>
    <dgm:pt modelId="{AE0A9AE0-3CE0-40CF-B5FC-CF2569008F6F}" type="pres">
      <dgm:prSet presAssocID="{D43DFAA4-611B-4CE4-9E63-809CF7EAAD2E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EEC3BE3-C4BE-46FC-880B-120B81D22072}" type="presOf" srcId="{97174BDC-EF27-46DE-B800-C567F2B03E68}" destId="{4AD9AB2C-5862-46B3-96FB-9C01D22CBF79}" srcOrd="0" destOrd="0" presId="urn:microsoft.com/office/officeart/2005/8/layout/chevron1"/>
    <dgm:cxn modelId="{43D4399E-13E9-48EB-A586-2DAE8C55BCDD}" srcId="{97174BDC-EF27-46DE-B800-C567F2B03E68}" destId="{D43DFAA4-611B-4CE4-9E63-809CF7EAAD2E}" srcOrd="0" destOrd="0" parTransId="{AD0614B1-52A1-4ED4-AC26-4A0163D576F6}" sibTransId="{8B757F06-6712-4ACF-A300-9EC93E466BC3}"/>
    <dgm:cxn modelId="{6EF18AA8-6426-44A4-8979-A5DEA441AB78}" type="presOf" srcId="{D43DFAA4-611B-4CE4-9E63-809CF7EAAD2E}" destId="{AE0A9AE0-3CE0-40CF-B5FC-CF2569008F6F}" srcOrd="0" destOrd="0" presId="urn:microsoft.com/office/officeart/2005/8/layout/chevron1"/>
    <dgm:cxn modelId="{7685F683-DCDE-4DAA-B4D0-D7CFC3D75015}" type="presParOf" srcId="{4AD9AB2C-5862-46B3-96FB-9C01D22CBF79}" destId="{AE0A9AE0-3CE0-40CF-B5FC-CF2569008F6F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7F8887-6D10-4EB5-A5DA-D87583C113AB}">
      <dsp:nvSpPr>
        <dsp:cNvPr id="0" name=""/>
        <dsp:cNvSpPr/>
      </dsp:nvSpPr>
      <dsp:spPr>
        <a:xfrm>
          <a:off x="1735210" y="819898"/>
          <a:ext cx="3879457" cy="4564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B5A8AC-56B3-4A17-B856-BC9E9055B836}">
      <dsp:nvSpPr>
        <dsp:cNvPr id="0" name=""/>
        <dsp:cNvSpPr/>
      </dsp:nvSpPr>
      <dsp:spPr>
        <a:xfrm>
          <a:off x="1735210" y="991306"/>
          <a:ext cx="284998" cy="28499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E4F34-DFEB-44BF-98CC-C3810E6D705C}">
      <dsp:nvSpPr>
        <dsp:cNvPr id="0" name=""/>
        <dsp:cNvSpPr/>
      </dsp:nvSpPr>
      <dsp:spPr>
        <a:xfrm>
          <a:off x="1735210" y="0"/>
          <a:ext cx="3879457" cy="8198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dirty="0"/>
            <a:t>Fall 1: Berechnung</a:t>
          </a:r>
          <a:endParaRPr lang="de-DE" sz="4400" kern="1200" dirty="0"/>
        </a:p>
      </dsp:txBody>
      <dsp:txXfrm>
        <a:off x="1735210" y="0"/>
        <a:ext cx="3879457" cy="819898"/>
      </dsp:txXfrm>
    </dsp:sp>
    <dsp:sp modelId="{4C846F9F-BD35-4E19-8DBA-0CB5456396B9}">
      <dsp:nvSpPr>
        <dsp:cNvPr id="0" name=""/>
        <dsp:cNvSpPr/>
      </dsp:nvSpPr>
      <dsp:spPr>
        <a:xfrm>
          <a:off x="1735210" y="1655630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077258-0C39-412D-AD25-B5CB3DF326B0}">
      <dsp:nvSpPr>
        <dsp:cNvPr id="0" name=""/>
        <dsp:cNvSpPr/>
      </dsp:nvSpPr>
      <dsp:spPr>
        <a:xfrm>
          <a:off x="2006772" y="1465967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Kommentare / Infotext</a:t>
          </a:r>
        </a:p>
      </dsp:txBody>
      <dsp:txXfrm>
        <a:off x="2006772" y="1465967"/>
        <a:ext cx="3607895" cy="664316"/>
      </dsp:txXfrm>
    </dsp:sp>
    <dsp:sp modelId="{A5D77796-1710-4ED3-82C9-339A0C9D57D3}">
      <dsp:nvSpPr>
        <dsp:cNvPr id="0" name=""/>
        <dsp:cNvSpPr/>
      </dsp:nvSpPr>
      <dsp:spPr>
        <a:xfrm>
          <a:off x="1735210" y="2319947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432465-E142-4380-B6E2-3D3E3B715680}">
      <dsp:nvSpPr>
        <dsp:cNvPr id="0" name=""/>
        <dsp:cNvSpPr/>
      </dsp:nvSpPr>
      <dsp:spPr>
        <a:xfrm>
          <a:off x="2006772" y="2130284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Ziel: Zufallsgenerierung</a:t>
          </a:r>
        </a:p>
      </dsp:txBody>
      <dsp:txXfrm>
        <a:off x="2006772" y="2130284"/>
        <a:ext cx="3607895" cy="664316"/>
      </dsp:txXfrm>
    </dsp:sp>
    <dsp:sp modelId="{52B5946B-15BC-43E3-BD63-0FCFE5CAD547}">
      <dsp:nvSpPr>
        <dsp:cNvPr id="0" name=""/>
        <dsp:cNvSpPr/>
      </dsp:nvSpPr>
      <dsp:spPr>
        <a:xfrm>
          <a:off x="1735210" y="2984264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C251C0-3DAC-4C0E-9F41-72C8357F62DD}">
      <dsp:nvSpPr>
        <dsp:cNvPr id="0" name=""/>
        <dsp:cNvSpPr/>
      </dsp:nvSpPr>
      <dsp:spPr>
        <a:xfrm>
          <a:off x="2006772" y="2794601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Generator: LCG</a:t>
          </a:r>
        </a:p>
      </dsp:txBody>
      <dsp:txXfrm>
        <a:off x="2006772" y="2794601"/>
        <a:ext cx="3607895" cy="664316"/>
      </dsp:txXfrm>
    </dsp:sp>
    <dsp:sp modelId="{B78DA5E3-196A-45FF-86D3-6B35A9FD07B6}">
      <dsp:nvSpPr>
        <dsp:cNvPr id="0" name=""/>
        <dsp:cNvSpPr/>
      </dsp:nvSpPr>
      <dsp:spPr>
        <a:xfrm>
          <a:off x="1735210" y="3648581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966524-0DE2-4746-AE20-2217D4A6551F}">
      <dsp:nvSpPr>
        <dsp:cNvPr id="0" name=""/>
        <dsp:cNvSpPr/>
      </dsp:nvSpPr>
      <dsp:spPr>
        <a:xfrm>
          <a:off x="2006772" y="3458918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Parameter: m=1,a=2,…</a:t>
          </a:r>
        </a:p>
      </dsp:txBody>
      <dsp:txXfrm>
        <a:off x="2006772" y="3458918"/>
        <a:ext cx="3607895" cy="664316"/>
      </dsp:txXfrm>
    </dsp:sp>
    <dsp:sp modelId="{2B70352A-60D3-46D2-A783-8A15CDADAB43}">
      <dsp:nvSpPr>
        <dsp:cNvPr id="0" name=""/>
        <dsp:cNvSpPr/>
      </dsp:nvSpPr>
      <dsp:spPr>
        <a:xfrm>
          <a:off x="5808640" y="819898"/>
          <a:ext cx="3879457" cy="4564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30E898-1C07-4333-80AD-B736C4D21515}">
      <dsp:nvSpPr>
        <dsp:cNvPr id="0" name=""/>
        <dsp:cNvSpPr/>
      </dsp:nvSpPr>
      <dsp:spPr>
        <a:xfrm>
          <a:off x="5808640" y="991306"/>
          <a:ext cx="284998" cy="28499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FAE040-6B7A-46A3-A72D-30BBE62C71BE}">
      <dsp:nvSpPr>
        <dsp:cNvPr id="0" name=""/>
        <dsp:cNvSpPr/>
      </dsp:nvSpPr>
      <dsp:spPr>
        <a:xfrm>
          <a:off x="5808640" y="0"/>
          <a:ext cx="3879457" cy="8198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dirty="0"/>
            <a:t>Fall 2: Bewertung</a:t>
          </a:r>
          <a:endParaRPr lang="de-DE" sz="4400" kern="1200" dirty="0"/>
        </a:p>
      </dsp:txBody>
      <dsp:txXfrm>
        <a:off x="5808640" y="0"/>
        <a:ext cx="3879457" cy="819898"/>
      </dsp:txXfrm>
    </dsp:sp>
    <dsp:sp modelId="{B564C8F1-EA51-41FF-9BDF-3D455C2968C8}">
      <dsp:nvSpPr>
        <dsp:cNvPr id="0" name=""/>
        <dsp:cNvSpPr/>
      </dsp:nvSpPr>
      <dsp:spPr>
        <a:xfrm>
          <a:off x="5808640" y="1655630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E2213E-E6F3-4E5C-9F44-94E8CE2714E2}">
      <dsp:nvSpPr>
        <dsp:cNvPr id="0" name=""/>
        <dsp:cNvSpPr/>
      </dsp:nvSpPr>
      <dsp:spPr>
        <a:xfrm>
          <a:off x="6080203" y="1465967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Kommentare / Infotext</a:t>
          </a:r>
        </a:p>
      </dsp:txBody>
      <dsp:txXfrm>
        <a:off x="6080203" y="1465967"/>
        <a:ext cx="3607895" cy="664316"/>
      </dsp:txXfrm>
    </dsp:sp>
    <dsp:sp modelId="{3400581A-62DC-4414-BB64-5F86897F4BE2}">
      <dsp:nvSpPr>
        <dsp:cNvPr id="0" name=""/>
        <dsp:cNvSpPr/>
      </dsp:nvSpPr>
      <dsp:spPr>
        <a:xfrm>
          <a:off x="5808640" y="2319947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01E8A1-C5E0-47EF-B7D7-636ED73C9D97}">
      <dsp:nvSpPr>
        <dsp:cNvPr id="0" name=""/>
        <dsp:cNvSpPr/>
      </dsp:nvSpPr>
      <dsp:spPr>
        <a:xfrm>
          <a:off x="6080203" y="2130284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Ziel: Bewertung</a:t>
          </a:r>
        </a:p>
      </dsp:txBody>
      <dsp:txXfrm>
        <a:off x="6080203" y="2130284"/>
        <a:ext cx="3607895" cy="664316"/>
      </dsp:txXfrm>
    </dsp:sp>
    <dsp:sp modelId="{69044049-27E0-4AE7-9C1B-707D637B9A57}">
      <dsp:nvSpPr>
        <dsp:cNvPr id="0" name=""/>
        <dsp:cNvSpPr/>
      </dsp:nvSpPr>
      <dsp:spPr>
        <a:xfrm>
          <a:off x="5808640" y="2984264"/>
          <a:ext cx="284991" cy="2849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6C5E5C-B42C-49F1-972C-E8D33ECF3101}">
      <dsp:nvSpPr>
        <dsp:cNvPr id="0" name=""/>
        <dsp:cNvSpPr/>
      </dsp:nvSpPr>
      <dsp:spPr>
        <a:xfrm>
          <a:off x="6080203" y="2794601"/>
          <a:ext cx="3607895" cy="664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Zufallszahlen: 2,3,4,5</a:t>
          </a:r>
        </a:p>
      </dsp:txBody>
      <dsp:txXfrm>
        <a:off x="6080203" y="2794601"/>
        <a:ext cx="3607895" cy="6643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7F8887-6D10-4EB5-A5DA-D87583C113AB}">
      <dsp:nvSpPr>
        <dsp:cNvPr id="0" name=""/>
        <dsp:cNvSpPr/>
      </dsp:nvSpPr>
      <dsp:spPr>
        <a:xfrm>
          <a:off x="3591" y="843213"/>
          <a:ext cx="3989774" cy="4693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B5A8AC-56B3-4A17-B856-BC9E9055B836}">
      <dsp:nvSpPr>
        <dsp:cNvPr id="0" name=""/>
        <dsp:cNvSpPr/>
      </dsp:nvSpPr>
      <dsp:spPr>
        <a:xfrm>
          <a:off x="3591" y="1019495"/>
          <a:ext cx="293103" cy="29310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E4F34-DFEB-44BF-98CC-C3810E6D705C}">
      <dsp:nvSpPr>
        <dsp:cNvPr id="0" name=""/>
        <dsp:cNvSpPr/>
      </dsp:nvSpPr>
      <dsp:spPr>
        <a:xfrm>
          <a:off x="3591" y="0"/>
          <a:ext cx="3989774" cy="843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dirty="0"/>
            <a:t>Fall 1: Berechnung</a:t>
          </a:r>
          <a:endParaRPr lang="de-DE" sz="4400" kern="1200" dirty="0"/>
        </a:p>
      </dsp:txBody>
      <dsp:txXfrm>
        <a:off x="3591" y="0"/>
        <a:ext cx="3989774" cy="843213"/>
      </dsp:txXfrm>
    </dsp:sp>
    <dsp:sp modelId="{4C846F9F-BD35-4E19-8DBA-0CB5456396B9}">
      <dsp:nvSpPr>
        <dsp:cNvPr id="0" name=""/>
        <dsp:cNvSpPr/>
      </dsp:nvSpPr>
      <dsp:spPr>
        <a:xfrm>
          <a:off x="3591" y="1702709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077258-0C39-412D-AD25-B5CB3DF326B0}">
      <dsp:nvSpPr>
        <dsp:cNvPr id="0" name=""/>
        <dsp:cNvSpPr/>
      </dsp:nvSpPr>
      <dsp:spPr>
        <a:xfrm>
          <a:off x="282875" y="1507654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Eingabeinformation</a:t>
          </a:r>
        </a:p>
      </dsp:txBody>
      <dsp:txXfrm>
        <a:off x="282875" y="1507654"/>
        <a:ext cx="3710490" cy="683207"/>
      </dsp:txXfrm>
    </dsp:sp>
    <dsp:sp modelId="{A5D77796-1710-4ED3-82C9-339A0C9D57D3}">
      <dsp:nvSpPr>
        <dsp:cNvPr id="0" name=""/>
        <dsp:cNvSpPr/>
      </dsp:nvSpPr>
      <dsp:spPr>
        <a:xfrm>
          <a:off x="3591" y="2385917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432465-E142-4380-B6E2-3D3E3B715680}">
      <dsp:nvSpPr>
        <dsp:cNvPr id="0" name=""/>
        <dsp:cNvSpPr/>
      </dsp:nvSpPr>
      <dsp:spPr>
        <a:xfrm>
          <a:off x="282875" y="2190861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Zahlenfolge: 2,3,4,5,6</a:t>
          </a:r>
        </a:p>
      </dsp:txBody>
      <dsp:txXfrm>
        <a:off x="282875" y="2190861"/>
        <a:ext cx="3710490" cy="683207"/>
      </dsp:txXfrm>
    </dsp:sp>
    <dsp:sp modelId="{2B70352A-60D3-46D2-A783-8A15CDADAB43}">
      <dsp:nvSpPr>
        <dsp:cNvPr id="0" name=""/>
        <dsp:cNvSpPr/>
      </dsp:nvSpPr>
      <dsp:spPr>
        <a:xfrm>
          <a:off x="4192854" y="843213"/>
          <a:ext cx="3989774" cy="4693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30E898-1C07-4333-80AD-B736C4D21515}">
      <dsp:nvSpPr>
        <dsp:cNvPr id="0" name=""/>
        <dsp:cNvSpPr/>
      </dsp:nvSpPr>
      <dsp:spPr>
        <a:xfrm>
          <a:off x="4192854" y="1019495"/>
          <a:ext cx="293103" cy="29310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FAE040-6B7A-46A3-A72D-30BBE62C71BE}">
      <dsp:nvSpPr>
        <dsp:cNvPr id="0" name=""/>
        <dsp:cNvSpPr/>
      </dsp:nvSpPr>
      <dsp:spPr>
        <a:xfrm>
          <a:off x="4192854" y="0"/>
          <a:ext cx="3989774" cy="843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dirty="0"/>
            <a:t>Fall 2: Bewertung</a:t>
          </a:r>
          <a:endParaRPr lang="de-DE" sz="4400" kern="1200" dirty="0"/>
        </a:p>
      </dsp:txBody>
      <dsp:txXfrm>
        <a:off x="4192854" y="0"/>
        <a:ext cx="3989774" cy="843213"/>
      </dsp:txXfrm>
    </dsp:sp>
    <dsp:sp modelId="{B564C8F1-EA51-41FF-9BDF-3D455C2968C8}">
      <dsp:nvSpPr>
        <dsp:cNvPr id="0" name=""/>
        <dsp:cNvSpPr/>
      </dsp:nvSpPr>
      <dsp:spPr>
        <a:xfrm>
          <a:off x="4192854" y="1702709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E2213E-E6F3-4E5C-9F44-94E8CE2714E2}">
      <dsp:nvSpPr>
        <dsp:cNvPr id="0" name=""/>
        <dsp:cNvSpPr/>
      </dsp:nvSpPr>
      <dsp:spPr>
        <a:xfrm>
          <a:off x="4472138" y="1507654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Eingabeinformation</a:t>
          </a:r>
        </a:p>
      </dsp:txBody>
      <dsp:txXfrm>
        <a:off x="4472138" y="1507654"/>
        <a:ext cx="3710490" cy="683207"/>
      </dsp:txXfrm>
    </dsp:sp>
    <dsp:sp modelId="{69044049-27E0-4AE7-9C1B-707D637B9A57}">
      <dsp:nvSpPr>
        <dsp:cNvPr id="0" name=""/>
        <dsp:cNvSpPr/>
      </dsp:nvSpPr>
      <dsp:spPr>
        <a:xfrm>
          <a:off x="4192854" y="2385917"/>
          <a:ext cx="293096" cy="2930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6C5E5C-B42C-49F1-972C-E8D33ECF3101}">
      <dsp:nvSpPr>
        <dsp:cNvPr id="0" name=""/>
        <dsp:cNvSpPr/>
      </dsp:nvSpPr>
      <dsp:spPr>
        <a:xfrm>
          <a:off x="4472138" y="2190861"/>
          <a:ext cx="3710490" cy="683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/>
            <a:t>Bewertungsergebnis</a:t>
          </a:r>
        </a:p>
      </dsp:txBody>
      <dsp:txXfrm>
        <a:off x="4472138" y="2190861"/>
        <a:ext cx="3710490" cy="6832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279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Eingabe</a:t>
          </a:r>
        </a:p>
      </dsp:txBody>
      <dsp:txXfrm>
        <a:off x="500290" y="836156"/>
        <a:ext cx="1492488" cy="994992"/>
      </dsp:txXfrm>
    </dsp:sp>
    <dsp:sp modelId="{69053871-FF8A-4DFC-8E4C-01DDC6D0437A}">
      <dsp:nvSpPr>
        <dsp:cNvPr id="0" name=""/>
        <dsp:cNvSpPr/>
      </dsp:nvSpPr>
      <dsp:spPr>
        <a:xfrm>
          <a:off x="2241527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Internes Mapping</a:t>
          </a:r>
        </a:p>
      </dsp:txBody>
      <dsp:txXfrm>
        <a:off x="2739023" y="836156"/>
        <a:ext cx="1492488" cy="994992"/>
      </dsp:txXfrm>
    </dsp:sp>
    <dsp:sp modelId="{23477B8D-8061-4500-A954-FF68AFE901E6}">
      <dsp:nvSpPr>
        <dsp:cNvPr id="0" name=""/>
        <dsp:cNvSpPr/>
      </dsp:nvSpPr>
      <dsp:spPr>
        <a:xfrm>
          <a:off x="4480259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Berechnung</a:t>
          </a:r>
        </a:p>
      </dsp:txBody>
      <dsp:txXfrm>
        <a:off x="4977755" y="836156"/>
        <a:ext cx="1492488" cy="994992"/>
      </dsp:txXfrm>
    </dsp:sp>
    <dsp:sp modelId="{FC3AC65E-735E-4A7E-92EA-757D1CFCFBEF}">
      <dsp:nvSpPr>
        <dsp:cNvPr id="0" name=""/>
        <dsp:cNvSpPr/>
      </dsp:nvSpPr>
      <dsp:spPr>
        <a:xfrm>
          <a:off x="6718992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Externes Mapping</a:t>
          </a:r>
        </a:p>
      </dsp:txBody>
      <dsp:txXfrm>
        <a:off x="7216488" y="836156"/>
        <a:ext cx="1492488" cy="994992"/>
      </dsp:txXfrm>
    </dsp:sp>
    <dsp:sp modelId="{B1A6F42E-DBEE-40B1-8672-249F8C89556E}">
      <dsp:nvSpPr>
        <dsp:cNvPr id="0" name=""/>
        <dsp:cNvSpPr/>
      </dsp:nvSpPr>
      <dsp:spPr>
        <a:xfrm>
          <a:off x="8957724" y="836156"/>
          <a:ext cx="2487480" cy="99499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/>
            <a:t>Ausgabe</a:t>
          </a:r>
        </a:p>
      </dsp:txBody>
      <dsp:txXfrm>
        <a:off x="9455220" y="836156"/>
        <a:ext cx="1492488" cy="9949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A9AE0-3CE0-40CF-B5FC-CF2569008F6F}">
      <dsp:nvSpPr>
        <dsp:cNvPr id="0" name=""/>
        <dsp:cNvSpPr/>
      </dsp:nvSpPr>
      <dsp:spPr>
        <a:xfrm>
          <a:off x="0" y="606258"/>
          <a:ext cx="3636968" cy="145478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033" tIns="86678" rIns="86678" bIns="86678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6500" kern="1200" dirty="0"/>
            <a:t>MVP</a:t>
          </a:r>
        </a:p>
      </dsp:txBody>
      <dsp:txXfrm>
        <a:off x="727394" y="606258"/>
        <a:ext cx="2182181" cy="14547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377698" y="9511964"/>
            <a:ext cx="2945659" cy="153888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048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2275" y="4777958"/>
            <a:ext cx="5953126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5883113" y="9511964"/>
            <a:ext cx="440244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EA9B4304-6324-4DC4-89E7-6289AD412E80}" type="slidenum">
              <a:rPr lang="de-DE" sz="1000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754199" y="429459"/>
            <a:ext cx="579695" cy="209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30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100" b="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•"/>
      <a:defRPr sz="1100" b="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spcBef>
        <a:spcPts val="400"/>
      </a:spcBef>
      <a:buClr>
        <a:schemeClr val="tx1"/>
      </a:buClr>
      <a:buFont typeface="Symbol" panose="05050102010706020507" pitchFamily="18" charset="2"/>
      <a:buChar char="-"/>
      <a:defRPr sz="1100" b="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58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FACHES DIAGRAM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067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0395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5256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7863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90306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50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581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0733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60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8898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tichpunkte – keine </a:t>
            </a:r>
            <a:r>
              <a:rPr lang="de-DE" dirty="0" err="1" smtClean="0"/>
              <a:t>grafik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3453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3050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B4304-6324-4DC4-89E7-6289AD412E80}" type="slidenum">
              <a:rPr lang="de-DE" sz="1000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22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5708650"/>
          </a:xfrm>
          <a:solidFill>
            <a:schemeClr val="accent6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algn="ctr">
              <a:spcBef>
                <a:spcPts val="0"/>
              </a:spcBef>
              <a:defRPr b="0"/>
            </a:lvl1pPr>
            <a:lvl2pPr algn="ctr">
              <a:defRPr/>
            </a:lvl2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 flipH="1">
            <a:off x="371476" y="1412876"/>
            <a:ext cx="11820525" cy="4356385"/>
          </a:xfrm>
          <a:custGeom>
            <a:avLst/>
            <a:gdLst>
              <a:gd name="connsiteX0" fmla="*/ 11324953 w 11820525"/>
              <a:gd name="connsiteY0" fmla="*/ 0 h 4356385"/>
              <a:gd name="connsiteX1" fmla="*/ 0 w 11820525"/>
              <a:gd name="connsiteY1" fmla="*/ 0 h 4356385"/>
              <a:gd name="connsiteX2" fmla="*/ 0 w 11820525"/>
              <a:gd name="connsiteY2" fmla="*/ 4356385 h 4356385"/>
              <a:gd name="connsiteX3" fmla="*/ 11820525 w 11820525"/>
              <a:gd name="connsiteY3" fmla="*/ 4356385 h 4356385"/>
              <a:gd name="connsiteX4" fmla="*/ 11820525 w 11820525"/>
              <a:gd name="connsiteY4" fmla="*/ 495572 h 4356385"/>
              <a:gd name="connsiteX5" fmla="*/ 11324953 w 11820525"/>
              <a:gd name="connsiteY5" fmla="*/ 0 h 4356385"/>
              <a:gd name="connsiteX0" fmla="*/ 0 w 11820525"/>
              <a:gd name="connsiteY0" fmla="*/ 4356385 h 4447825"/>
              <a:gd name="connsiteX1" fmla="*/ 11820525 w 11820525"/>
              <a:gd name="connsiteY1" fmla="*/ 4356385 h 4447825"/>
              <a:gd name="connsiteX2" fmla="*/ 11820525 w 11820525"/>
              <a:gd name="connsiteY2" fmla="*/ 495572 h 4447825"/>
              <a:gd name="connsiteX3" fmla="*/ 11324953 w 11820525"/>
              <a:gd name="connsiteY3" fmla="*/ 0 h 4447825"/>
              <a:gd name="connsiteX4" fmla="*/ 0 w 11820525"/>
              <a:gd name="connsiteY4" fmla="*/ 0 h 4447825"/>
              <a:gd name="connsiteX5" fmla="*/ 91440 w 11820525"/>
              <a:gd name="connsiteY5" fmla="*/ 4447825 h 4447825"/>
              <a:gd name="connsiteX0" fmla="*/ 0 w 11820525"/>
              <a:gd name="connsiteY0" fmla="*/ 4356385 h 4356385"/>
              <a:gd name="connsiteX1" fmla="*/ 11820525 w 11820525"/>
              <a:gd name="connsiteY1" fmla="*/ 4356385 h 4356385"/>
              <a:gd name="connsiteX2" fmla="*/ 11820525 w 11820525"/>
              <a:gd name="connsiteY2" fmla="*/ 495572 h 4356385"/>
              <a:gd name="connsiteX3" fmla="*/ 11324953 w 11820525"/>
              <a:gd name="connsiteY3" fmla="*/ 0 h 4356385"/>
              <a:gd name="connsiteX4" fmla="*/ 0 w 11820525"/>
              <a:gd name="connsiteY4" fmla="*/ 0 h 435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20525" h="4356385">
                <a:moveTo>
                  <a:pt x="0" y="4356385"/>
                </a:moveTo>
                <a:lnTo>
                  <a:pt x="11820525" y="4356385"/>
                </a:lnTo>
                <a:lnTo>
                  <a:pt x="11820525" y="495572"/>
                </a:lnTo>
                <a:cubicBezTo>
                  <a:pt x="11820525" y="221875"/>
                  <a:pt x="11598650" y="0"/>
                  <a:pt x="11324953" y="0"/>
                </a:cubicBezTo>
                <a:lnTo>
                  <a:pt x="0" y="0"/>
                </a:lnTo>
              </a:path>
            </a:pathLst>
          </a:custGeom>
          <a:solidFill>
            <a:schemeClr val="bg1">
              <a:alpha val="80000"/>
            </a:schemeClr>
          </a:solidFill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25" name="Textplatzhalter 19"/>
          <p:cNvSpPr>
            <a:spLocks noGrp="1"/>
          </p:cNvSpPr>
          <p:nvPr>
            <p:ph type="body" sz="quarter" idx="13" hasCustomPrompt="1"/>
          </p:nvPr>
        </p:nvSpPr>
        <p:spPr bwMode="gray">
          <a:xfrm flipH="1">
            <a:off x="12000" y="5708649"/>
            <a:ext cx="12168000" cy="1440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65A633F5-6A14-482B-B7C3-EA41A071536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341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1124744"/>
            <a:ext cx="12192000" cy="5733257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51676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2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1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 dirty="0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8543925" y="5308044"/>
            <a:ext cx="3276600" cy="1073706"/>
          </a:xfrm>
          <a:prstGeom prst="roundRect">
            <a:avLst>
              <a:gd name="adj" fmla="val 17712"/>
            </a:avLst>
          </a:prstGeom>
          <a:solidFill>
            <a:schemeClr val="accent1"/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ED5E4F3E-A1C6-427C-B1CE-8C924C7215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775520" y="3574030"/>
            <a:ext cx="3276600" cy="1143687"/>
          </a:xfrm>
          <a:prstGeom prst="roundRect">
            <a:avLst>
              <a:gd name="adj" fmla="val 17712"/>
            </a:avLst>
          </a:prstGeom>
          <a:solidFill>
            <a:srgbClr val="FFFFFF">
              <a:alpha val="80000"/>
            </a:srgbClr>
          </a:solidFill>
        </p:spPr>
        <p:txBody>
          <a:bodyPr lIns="144000" tIns="108000" rIns="144000" bIns="108000" anchor="ctr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983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14B224-5848-41E4-83E8-3646E3C858CD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581B0A0A-9E83-4AFD-B2F0-18899753CD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</p:spTree>
    <p:extLst>
      <p:ext uri="{BB962C8B-B14F-4D97-AF65-F5344CB8AC3E}">
        <p14:creationId xmlns:p14="http://schemas.microsoft.com/office/powerpoint/2010/main" val="2120934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956EC5-7C62-4377-BC2B-AC7237B5C885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FDCB3BE5-C7F8-40B2-9A8A-7EB4769007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465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hel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C75EAC1-B2EA-4787-9039-A0C7FA5C39AA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49E70B88-D04B-42BC-893F-9AA3B0842B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21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reativ dunkel mit Spo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2A0302BA-813F-4F16-BF85-B004EF341B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25000">
                <a:schemeClr val="accent4"/>
              </a:gs>
              <a:gs pos="83000">
                <a:schemeClr val="accent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BDF7B2-AE09-4CB1-ADA1-5437FBFCAD44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4F42BA-C6E3-4D5B-99FA-36163155CEA7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6042C6C9-EDBE-4F92-9D0F-F97D1EA3EF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832537" y="255600"/>
            <a:ext cx="982663" cy="32385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D3750765-EBFB-4AD4-B760-B0FF6039CF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614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zit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9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5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983432" y="4018956"/>
            <a:ext cx="10837092" cy="830997"/>
          </a:xfrm>
        </p:spPr>
        <p:txBody>
          <a:bodyPr anchor="b"/>
          <a:lstStyle>
            <a:lvl1pPr algn="l">
              <a:spcBef>
                <a:spcPts val="0"/>
              </a:spcBef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ake </a:t>
            </a:r>
            <a:r>
              <a:rPr lang="de-DE" dirty="0" err="1"/>
              <a:t>away</a:t>
            </a:r>
            <a:r>
              <a:rPr lang="de-DE" dirty="0"/>
              <a:t> </a:t>
            </a:r>
            <a:r>
              <a:rPr lang="de-DE" dirty="0" err="1"/>
              <a:t>message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983432" y="5019229"/>
            <a:ext cx="10837092" cy="55399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ielen Dank </a:t>
            </a:r>
            <a:endParaRPr lang="en-GB" dirty="0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A33C794-CA00-4CB7-864D-3BEBCDA04D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234958" y="400371"/>
            <a:ext cx="1573627" cy="521729"/>
          </a:xfrm>
          <a:prstGeom prst="rect">
            <a:avLst/>
          </a:prstGeom>
        </p:spPr>
      </p:pic>
      <p:cxnSp>
        <p:nvCxnSpPr>
          <p:cNvPr id="9" name="Gerader Verbinder 8"/>
          <p:cNvCxnSpPr/>
          <p:nvPr userDrawn="1"/>
        </p:nvCxnSpPr>
        <p:spPr bwMode="gray">
          <a:xfrm>
            <a:off x="384174" y="5203895"/>
            <a:ext cx="0" cy="1654105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ruckrahmen">
            <a:extLst>
              <a:ext uri="{FF2B5EF4-FFF2-40B4-BE49-F238E27FC236}">
                <a16:creationId xmlns:a16="http://schemas.microsoft.com/office/drawing/2014/main" id="{6DE40ADF-7729-4934-A1F7-56D938009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5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Titel 1"/>
          <p:cNvSpPr txBox="1">
            <a:spLocks/>
          </p:cNvSpPr>
          <p:nvPr userDrawn="1"/>
        </p:nvSpPr>
        <p:spPr bwMode="gray">
          <a:xfrm>
            <a:off x="983432" y="1988840"/>
            <a:ext cx="10837092" cy="984885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de-DE" dirty="0"/>
              <a:t>Unser Antrieb: </a:t>
            </a:r>
            <a:br>
              <a:rPr lang="de-DE" dirty="0"/>
            </a:br>
            <a:r>
              <a:rPr lang="de-DE" dirty="0"/>
              <a:t>In der Gemeinschaft Werte schützen. </a:t>
            </a:r>
          </a:p>
        </p:txBody>
      </p:sp>
      <p:sp>
        <p:nvSpPr>
          <p:cNvPr id="9" name="Textplatzhalter 19"/>
          <p:cNvSpPr txBox="1">
            <a:spLocks/>
          </p:cNvSpPr>
          <p:nvPr userDrawn="1"/>
        </p:nvSpPr>
        <p:spPr bwMode="gray">
          <a:xfrm>
            <a:off x="10229324" y="6018724"/>
            <a:ext cx="1591200" cy="529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8" name="Druckrahmen">
            <a:extLst>
              <a:ext uri="{FF2B5EF4-FFF2-40B4-BE49-F238E27FC236}">
                <a16:creationId xmlns:a16="http://schemas.microsoft.com/office/drawing/2014/main" id="{07A3AEBD-F634-4BC4-A1B7-40DC399BB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154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1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grayWhite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0" y="5708955"/>
            <a:ext cx="12191995" cy="1149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83432" y="2481282"/>
            <a:ext cx="10837092" cy="492443"/>
          </a:xfrm>
        </p:spPr>
        <p:txBody>
          <a:bodyPr anchor="b"/>
          <a:lstStyle>
            <a:lvl1pPr algn="l"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83432" y="3143001"/>
            <a:ext cx="10837092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983432" y="5115437"/>
            <a:ext cx="10837093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  |  Vortragender</a:t>
            </a:r>
          </a:p>
        </p:txBody>
      </p:sp>
      <p:sp>
        <p:nvSpPr>
          <p:cNvPr id="11" name="Eine Ecke des Rechtecks abrunden 13"/>
          <p:cNvSpPr/>
          <p:nvPr userDrawn="1"/>
        </p:nvSpPr>
        <p:spPr bwMode="gray">
          <a:xfrm flipH="1">
            <a:off x="384174" y="1422400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1F557E02-EF4A-42F4-A5E6-19871CA2693B}"/>
              </a:ext>
            </a:extLst>
          </p:cNvPr>
          <p:cNvSpPr txBox="1">
            <a:spLocks/>
          </p:cNvSpPr>
          <p:nvPr userDrawn="1"/>
        </p:nvSpPr>
        <p:spPr>
          <a:xfrm>
            <a:off x="10229324" y="6019286"/>
            <a:ext cx="1590675" cy="528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sp>
        <p:nvSpPr>
          <p:cNvPr id="15" name="Druckrahmen">
            <a:extLst>
              <a:ext uri="{FF2B5EF4-FFF2-40B4-BE49-F238E27FC236}">
                <a16:creationId xmlns:a16="http://schemas.microsoft.com/office/drawing/2014/main" id="{039B24DE-6500-48F7-845F-83E319875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14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4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white">
          <a:xfrm>
            <a:off x="0" y="0"/>
            <a:ext cx="12192000" cy="6237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gray">
          <a:xfrm>
            <a:off x="384174" y="5123267"/>
            <a:ext cx="0" cy="1114021"/>
          </a:xfrm>
          <a:prstGeom prst="line">
            <a:avLst/>
          </a:pr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 bwMode="gray">
          <a:xfrm>
            <a:off x="0" y="6237287"/>
            <a:ext cx="12191995" cy="620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C8721CD0-71A4-4586-BB8C-AA85283C2F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4634" y="6354152"/>
            <a:ext cx="983586" cy="324000"/>
          </a:xfrm>
          <a:prstGeom prst="rect">
            <a:avLst/>
          </a:prstGeom>
        </p:spPr>
      </p:pic>
      <p:sp>
        <p:nvSpPr>
          <p:cNvPr id="12" name="Druckrahmen">
            <a:extLst>
              <a:ext uri="{FF2B5EF4-FFF2-40B4-BE49-F238E27FC236}">
                <a16:creationId xmlns:a16="http://schemas.microsoft.com/office/drawing/2014/main" id="{D8267DB3-8AFE-443C-B334-7F78988201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16758" y="1316377"/>
            <a:ext cx="100800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52388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white">
          <a:xfrm>
            <a:off x="0" y="1"/>
            <a:ext cx="12192000" cy="3573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Eine Ecke des Rechtecks abrunden 13"/>
          <p:cNvSpPr/>
          <p:nvPr userDrawn="1"/>
        </p:nvSpPr>
        <p:spPr bwMode="gray">
          <a:xfrm flipH="1">
            <a:off x="384174" y="836711"/>
            <a:ext cx="11807821" cy="4286556"/>
          </a:xfrm>
          <a:custGeom>
            <a:avLst/>
            <a:gdLst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  <a:gd name="connsiteX4" fmla="*/ 0 w 11807821"/>
              <a:gd name="connsiteY4" fmla="*/ 4286556 h 4286556"/>
              <a:gd name="connsiteX5" fmla="*/ 0 w 11807821"/>
              <a:gd name="connsiteY5" fmla="*/ 0 h 4286556"/>
              <a:gd name="connsiteX0" fmla="*/ 0 w 11807821"/>
              <a:gd name="connsiteY0" fmla="*/ 4286556 h 4377996"/>
              <a:gd name="connsiteX1" fmla="*/ 0 w 11807821"/>
              <a:gd name="connsiteY1" fmla="*/ 0 h 4377996"/>
              <a:gd name="connsiteX2" fmla="*/ 11350060 w 11807821"/>
              <a:gd name="connsiteY2" fmla="*/ 0 h 4377996"/>
              <a:gd name="connsiteX3" fmla="*/ 11807821 w 11807821"/>
              <a:gd name="connsiteY3" fmla="*/ 457761 h 4377996"/>
              <a:gd name="connsiteX4" fmla="*/ 11807821 w 11807821"/>
              <a:gd name="connsiteY4" fmla="*/ 4286556 h 4377996"/>
              <a:gd name="connsiteX5" fmla="*/ 91440 w 11807821"/>
              <a:gd name="connsiteY5" fmla="*/ 4377996 h 4377996"/>
              <a:gd name="connsiteX0" fmla="*/ 0 w 11807821"/>
              <a:gd name="connsiteY0" fmla="*/ 0 h 4377996"/>
              <a:gd name="connsiteX1" fmla="*/ 11350060 w 11807821"/>
              <a:gd name="connsiteY1" fmla="*/ 0 h 4377996"/>
              <a:gd name="connsiteX2" fmla="*/ 11807821 w 11807821"/>
              <a:gd name="connsiteY2" fmla="*/ 457761 h 4377996"/>
              <a:gd name="connsiteX3" fmla="*/ 11807821 w 11807821"/>
              <a:gd name="connsiteY3" fmla="*/ 4286556 h 4377996"/>
              <a:gd name="connsiteX4" fmla="*/ 91440 w 11807821"/>
              <a:gd name="connsiteY4" fmla="*/ 4377996 h 4377996"/>
              <a:gd name="connsiteX0" fmla="*/ 0 w 11807821"/>
              <a:gd name="connsiteY0" fmla="*/ 0 h 4286556"/>
              <a:gd name="connsiteX1" fmla="*/ 11350060 w 11807821"/>
              <a:gd name="connsiteY1" fmla="*/ 0 h 4286556"/>
              <a:gd name="connsiteX2" fmla="*/ 11807821 w 11807821"/>
              <a:gd name="connsiteY2" fmla="*/ 457761 h 4286556"/>
              <a:gd name="connsiteX3" fmla="*/ 11807821 w 11807821"/>
              <a:gd name="connsiteY3" fmla="*/ 4286556 h 4286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1" h="4286556">
                <a:moveTo>
                  <a:pt x="0" y="0"/>
                </a:moveTo>
                <a:lnTo>
                  <a:pt x="11350060" y="0"/>
                </a:lnTo>
                <a:cubicBezTo>
                  <a:pt x="11602874" y="0"/>
                  <a:pt x="11807821" y="204947"/>
                  <a:pt x="11807821" y="457761"/>
                </a:cubicBezTo>
                <a:lnTo>
                  <a:pt x="11807821" y="4286556"/>
                </a:lnTo>
              </a:path>
            </a:pathLst>
          </a:custGeom>
          <a:ln w="508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GB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" y="3573016"/>
            <a:ext cx="12191999" cy="32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9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1" name="Druckrahmen">
            <a:extLst>
              <a:ext uri="{FF2B5EF4-FFF2-40B4-BE49-F238E27FC236}">
                <a16:creationId xmlns:a16="http://schemas.microsoft.com/office/drawing/2014/main" id="{5B6CB28B-F266-4BFF-A587-37CF3DF2C6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01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58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573463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 algn="ctr">
              <a:spcBef>
                <a:spcPts val="0"/>
              </a:spcBef>
              <a:defRPr lang="de-DE" b="0"/>
            </a:lvl1pPr>
          </a:lstStyle>
          <a:p>
            <a:pPr lvl="0"/>
            <a:r>
              <a:rPr lang="de-DE" dirty="0"/>
              <a:t>Um ein Hintergrundbild einzufügen, markieren Sie bitte den Platzhalter und wählen ein Bild über den Reiter „Einfügen“, „Bilder“ aus.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 bwMode="gray">
          <a:xfrm flipH="1">
            <a:off x="384174" y="836712"/>
            <a:ext cx="11807826" cy="2736751"/>
          </a:xfrm>
          <a:custGeom>
            <a:avLst/>
            <a:gdLst>
              <a:gd name="connsiteX0" fmla="*/ 11350361 w 11807826"/>
              <a:gd name="connsiteY0" fmla="*/ 0 h 2736751"/>
              <a:gd name="connsiteX1" fmla="*/ 0 w 11807826"/>
              <a:gd name="connsiteY1" fmla="*/ 0 h 2736751"/>
              <a:gd name="connsiteX2" fmla="*/ 0 w 11807826"/>
              <a:gd name="connsiteY2" fmla="*/ 2736751 h 2736751"/>
              <a:gd name="connsiteX3" fmla="*/ 11807826 w 11807826"/>
              <a:gd name="connsiteY3" fmla="*/ 2736751 h 2736751"/>
              <a:gd name="connsiteX4" fmla="*/ 11807826 w 11807826"/>
              <a:gd name="connsiteY4" fmla="*/ 457465 h 2736751"/>
              <a:gd name="connsiteX5" fmla="*/ 11350361 w 11807826"/>
              <a:gd name="connsiteY5" fmla="*/ 0 h 2736751"/>
              <a:gd name="connsiteX0" fmla="*/ 0 w 11807826"/>
              <a:gd name="connsiteY0" fmla="*/ 2736751 h 2828191"/>
              <a:gd name="connsiteX1" fmla="*/ 11807826 w 11807826"/>
              <a:gd name="connsiteY1" fmla="*/ 2736751 h 2828191"/>
              <a:gd name="connsiteX2" fmla="*/ 11807826 w 11807826"/>
              <a:gd name="connsiteY2" fmla="*/ 457465 h 2828191"/>
              <a:gd name="connsiteX3" fmla="*/ 11350361 w 11807826"/>
              <a:gd name="connsiteY3" fmla="*/ 0 h 2828191"/>
              <a:gd name="connsiteX4" fmla="*/ 0 w 11807826"/>
              <a:gd name="connsiteY4" fmla="*/ 0 h 2828191"/>
              <a:gd name="connsiteX5" fmla="*/ 91440 w 11807826"/>
              <a:gd name="connsiteY5" fmla="*/ 2828191 h 2828191"/>
              <a:gd name="connsiteX0" fmla="*/ 0 w 11807826"/>
              <a:gd name="connsiteY0" fmla="*/ 2736751 h 2736751"/>
              <a:gd name="connsiteX1" fmla="*/ 11807826 w 11807826"/>
              <a:gd name="connsiteY1" fmla="*/ 2736751 h 2736751"/>
              <a:gd name="connsiteX2" fmla="*/ 11807826 w 11807826"/>
              <a:gd name="connsiteY2" fmla="*/ 457465 h 2736751"/>
              <a:gd name="connsiteX3" fmla="*/ 11350361 w 11807826"/>
              <a:gd name="connsiteY3" fmla="*/ 0 h 2736751"/>
              <a:gd name="connsiteX4" fmla="*/ 0 w 11807826"/>
              <a:gd name="connsiteY4" fmla="*/ 0 h 2736751"/>
              <a:gd name="connsiteX0" fmla="*/ 11807826 w 11807826"/>
              <a:gd name="connsiteY0" fmla="*/ 2736751 h 2736751"/>
              <a:gd name="connsiteX1" fmla="*/ 11807826 w 11807826"/>
              <a:gd name="connsiteY1" fmla="*/ 457465 h 2736751"/>
              <a:gd name="connsiteX2" fmla="*/ 11350361 w 11807826"/>
              <a:gd name="connsiteY2" fmla="*/ 0 h 2736751"/>
              <a:gd name="connsiteX3" fmla="*/ 0 w 11807826"/>
              <a:gd name="connsiteY3" fmla="*/ 0 h 2736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7826" h="2736751">
                <a:moveTo>
                  <a:pt x="11807826" y="2736751"/>
                </a:moveTo>
                <a:lnTo>
                  <a:pt x="11807826" y="457465"/>
                </a:lnTo>
                <a:cubicBezTo>
                  <a:pt x="11807826" y="204814"/>
                  <a:pt x="11603012" y="0"/>
                  <a:pt x="11350361" y="0"/>
                </a:cubicBezTo>
                <a:lnTo>
                  <a:pt x="0" y="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00">
                <a:noFill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3328" y="4130207"/>
            <a:ext cx="10634892" cy="615553"/>
          </a:xfrm>
        </p:spPr>
        <p:txBody>
          <a:bodyPr anchor="t"/>
          <a:lstStyle>
            <a:lvl1pPr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apitelname</a:t>
            </a:r>
          </a:p>
        </p:txBody>
      </p:sp>
      <p:sp>
        <p:nvSpPr>
          <p:cNvPr id="21" name="Textplatzhalter 19"/>
          <p:cNvSpPr txBox="1">
            <a:spLocks noChangeAspect="1"/>
          </p:cNvSpPr>
          <p:nvPr userDrawn="1"/>
        </p:nvSpPr>
        <p:spPr bwMode="gray">
          <a:xfrm>
            <a:off x="10864016" y="6354152"/>
            <a:ext cx="974204" cy="32400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50800">
            <a:noFill/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  <p:sp>
        <p:nvSpPr>
          <p:cNvPr id="10" name="Druckrahmen">
            <a:extLst>
              <a:ext uri="{FF2B5EF4-FFF2-40B4-BE49-F238E27FC236}">
                <a16:creationId xmlns:a16="http://schemas.microsoft.com/office/drawing/2014/main" id="{CE89793A-E11E-434B-8861-A2A24AD5DE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65316" y="917716"/>
            <a:ext cx="3712555" cy="3339376"/>
          </a:xfrm>
        </p:spPr>
        <p:txBody>
          <a:bodyPr wrap="none" anchor="b"/>
          <a:lstStyle>
            <a:lvl1pPr>
              <a:spcBef>
                <a:spcPts val="0"/>
              </a:spcBef>
              <a:defRPr sz="217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88259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2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F983353-820A-4CD3-A0FB-236A47D3B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4FB014-998F-476A-83AB-02F0B66F64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800" y="6243251"/>
            <a:ext cx="11448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EF2028D-AA01-41AA-83F1-6EDF51E76A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487587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4962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FA40309-AA06-43DE-A277-059A46DC32ED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8A0F6248-1825-462D-863E-8FD0BC7384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11443256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1C7044B-AD00-4A0B-987D-10AB2AA2F7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B8307F-641C-4703-A3B0-18C3E7348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16934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E208CA-E75F-4040-B41E-9BAD50EA4F3B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6240463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267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3BB3F5-6099-4B61-A589-05E6B105DF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1475" y="1412875"/>
            <a:ext cx="5580063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90287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091A67-CCD8-478F-8AFD-2777D0E4A009}" type="datetime1">
              <a:rPr lang="de-DE" smtClean="0"/>
              <a:t>16.07.2020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07529" y="6502042"/>
            <a:ext cx="9763309" cy="138499"/>
          </a:xfrm>
        </p:spPr>
        <p:txBody>
          <a:bodyPr/>
          <a:lstStyle/>
          <a:p>
            <a:r>
              <a:rPr lang="de-DE" noProof="0" dirty="0"/>
              <a:t>| | Prüfungsnummer: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 bwMode="gray">
          <a:xfrm>
            <a:off x="371475" y="1412875"/>
            <a:ext cx="5580062" cy="4968875"/>
          </a:xfrm>
          <a:solidFill>
            <a:schemeClr val="accent6"/>
          </a:solidFill>
          <a:ln>
            <a:noFill/>
          </a:ln>
        </p:spPr>
        <p:txBody>
          <a:bodyPr vert="horz" wrap="square" lIns="72000" tIns="72000" rIns="72000" bIns="72000" rtlCol="0">
            <a:noAutofit/>
          </a:bodyPr>
          <a:lstStyle>
            <a:lvl1pPr>
              <a:spcBef>
                <a:spcPts val="0"/>
              </a:spcBef>
              <a:defRPr lang="de-DE" b="0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2FAEEE-6E6C-4B9F-8C30-3829B7034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83746111-9B9D-49B3-A1EF-B4C01FF8FE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525" y="6243251"/>
            <a:ext cx="5580000" cy="138499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Bef>
                <a:spcPts val="0"/>
              </a:spcBef>
              <a:defRPr lang="de-DE" sz="9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/Fußnot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7BF9EE-19E1-44B8-BB1F-181B404128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3" y="1412875"/>
            <a:ext cx="5580062" cy="1487587"/>
          </a:xfrm>
        </p:spPr>
        <p:txBody>
          <a:bodyPr>
            <a:sp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72869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balken"/>
          <p:cNvSpPr/>
          <p:nvPr/>
        </p:nvSpPr>
        <p:spPr bwMode="gray">
          <a:xfrm>
            <a:off x="0" y="1"/>
            <a:ext cx="12192000" cy="11247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1475" y="230898"/>
            <a:ext cx="1008000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48" cy="1487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71475" y="6502042"/>
            <a:ext cx="609600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E522EC6F-1043-42A9-B89A-8627A45F02AF}" type="datetime1">
              <a:rPr lang="de-DE" smtClean="0"/>
              <a:t>16.07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07529" y="6502042"/>
            <a:ext cx="976330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|  Lukas Kondziella | Prüfungsnummer: 142-1867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58524" y="6502042"/>
            <a:ext cx="761999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  </a:t>
            </a:r>
            <a:fld id="{2B4F42BA-C6E3-4D5B-99FA-36163155CEA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Druckrahmen">
            <a:extLst>
              <a:ext uri="{FF2B5EF4-FFF2-40B4-BE49-F238E27FC236}">
                <a16:creationId xmlns:a16="http://schemas.microsoft.com/office/drawing/2014/main" id="{C23BDD6F-6C7A-454F-BD3A-0BCDFFAEE08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Textplatzhalter 6"/>
          <p:cNvSpPr txBox="1">
            <a:spLocks/>
          </p:cNvSpPr>
          <p:nvPr/>
        </p:nvSpPr>
        <p:spPr bwMode="blackWhite">
          <a:xfrm>
            <a:off x="10832400" y="255600"/>
            <a:ext cx="982800" cy="324000"/>
          </a:xfrm>
          <a:prstGeom prst="rect">
            <a:avLst/>
          </a:prstGeom>
          <a:blipFill>
            <a:blip r:embed="rId19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4pPr>
            <a:lvl5pPr marL="355600" indent="-1778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00" kern="1200">
                <a:noFill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993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1" r:id="rId2"/>
    <p:sldLayoutId id="2147483655" r:id="rId3"/>
    <p:sldLayoutId id="2147483662" r:id="rId4"/>
    <p:sldLayoutId id="2147483665" r:id="rId5"/>
    <p:sldLayoutId id="2147483650" r:id="rId6"/>
    <p:sldLayoutId id="2147483656" r:id="rId7"/>
    <p:sldLayoutId id="2147483657" r:id="rId8"/>
    <p:sldLayoutId id="2147483663" r:id="rId9"/>
    <p:sldLayoutId id="2147483658" r:id="rId10"/>
    <p:sldLayoutId id="2147483666" r:id="rId11"/>
    <p:sldLayoutId id="2147483654" r:id="rId12"/>
    <p:sldLayoutId id="2147483660" r:id="rId13"/>
    <p:sldLayoutId id="2147483671" r:id="rId14"/>
    <p:sldLayoutId id="2147483667" r:id="rId15"/>
    <p:sldLayoutId id="2147483661" r:id="rId16"/>
    <p:sldLayoutId id="2147483669" r:id="rId1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55600" indent="-1778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1988841"/>
            <a:ext cx="10837092" cy="984885"/>
          </a:xfrm>
        </p:spPr>
        <p:txBody>
          <a:bodyPr/>
          <a:lstStyle/>
          <a:p>
            <a:r>
              <a:rPr lang="de-DE" dirty="0"/>
              <a:t>Präsentation zur </a:t>
            </a:r>
            <a:r>
              <a:rPr lang="de-DE" dirty="0" err="1"/>
              <a:t>GroPr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bschlussprüfung Sommer 2020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„Zufallszahlengeneratore</a:t>
            </a:r>
            <a:r>
              <a:rPr lang="de-DE" dirty="0"/>
              <a:t>n</a:t>
            </a:r>
            <a:r>
              <a:rPr lang="de-DE" dirty="0" smtClean="0"/>
              <a:t>“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fld id="{FB9AFF1A-74F3-4769-B3E7-7F748D88A726}" type="datetime1">
              <a:rPr lang="de-DE" smtClean="0"/>
              <a:t>16.07.2020</a:t>
            </a:fld>
            <a:r>
              <a:rPr lang="de-DE" dirty="0"/>
              <a:t> | Köln | Bjarne </a:t>
            </a:r>
            <a:r>
              <a:rPr lang="de-DE" dirty="0" smtClean="0"/>
              <a:t>Herrmann | Prüfungsnummer: </a:t>
            </a:r>
            <a:r>
              <a:rPr lang="de-DE" dirty="0" smtClean="0"/>
              <a:t>142/1874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3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2D93FD0-C8D5-4767-96E8-6277EEA737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52D365-DF44-4282-A737-B85582FF44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rogramm / System</a:t>
            </a:r>
          </a:p>
        </p:txBody>
      </p:sp>
    </p:spTree>
    <p:extLst>
      <p:ext uri="{BB962C8B-B14F-4D97-AF65-F5344CB8AC3E}">
        <p14:creationId xmlns:p14="http://schemas.microsoft.com/office/powerpoint/2010/main" val="223201015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1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709F682A-9C4D-4433-BCE8-7CA67342F1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329239"/>
              </p:ext>
            </p:extLst>
          </p:nvPr>
        </p:nvGraphicFramePr>
        <p:xfrm>
          <a:off x="370800" y="2095347"/>
          <a:ext cx="11448000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139932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graphicEl>
                                              <a:dgm id="{AE0A9AE0-3CE0-40CF-B5FC-CF2569008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graphicEl>
                                              <a:dgm id="{69053871-FF8A-4DFC-8E4C-01DDC6D043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graphicEl>
                                              <a:dgm id="{23477B8D-8061-4500-A954-FF68AFE901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graphicEl>
                                              <a:dgm id="{FC3AC65E-735E-4A7E-92EA-757D1CFCFBE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>
                                            <p:graphicEl>
                                              <a:dgm id="{B1A6F42E-DBEE-40B1-8672-249F8C89556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Sub>
          <a:bldDgm bld="one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2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Verfahrensbeschreib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B565ED48-4AC3-457D-AA04-1D7633E72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034023"/>
              </p:ext>
            </p:extLst>
          </p:nvPr>
        </p:nvGraphicFramePr>
        <p:xfrm>
          <a:off x="370800" y="2095347"/>
          <a:ext cx="3636968" cy="2667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14" y="1246656"/>
            <a:ext cx="5753100" cy="497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21207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3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Klassenstruktur - View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7B1C6B2C-1FC0-43B3-87DA-3903C75FEA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7" y="2139594"/>
            <a:ext cx="16777864" cy="324201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A7B4A58-6879-4EDB-B45D-F57FEC7E7FC5}"/>
              </a:ext>
            </a:extLst>
          </p:cNvPr>
          <p:cNvSpPr/>
          <p:nvPr/>
        </p:nvSpPr>
        <p:spPr>
          <a:xfrm>
            <a:off x="8184232" y="1279387"/>
            <a:ext cx="4007767" cy="48435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l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iew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Generische IO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Realisierung mittels </a:t>
            </a:r>
            <a:r>
              <a:rPr lang="de-DE" sz="1400" dirty="0" err="1" smtClean="0">
                <a:solidFill>
                  <a:schemeClr val="tx1"/>
                </a:solidFill>
              </a:rPr>
              <a:t>TextFile</a:t>
            </a:r>
            <a:r>
              <a:rPr lang="de-DE" sz="1400" dirty="0" smtClean="0">
                <a:solidFill>
                  <a:schemeClr val="tx1"/>
                </a:solidFill>
              </a:rPr>
              <a:t>-Objekt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Present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 smtClean="0">
                <a:solidFill>
                  <a:schemeClr val="tx1"/>
                </a:solidFill>
              </a:rPr>
              <a:t>Exceptionhandling</a:t>
            </a:r>
            <a:endParaRPr lang="de-DE" sz="1400" dirty="0">
              <a:solidFill>
                <a:schemeClr val="tx1"/>
              </a:solidFill>
            </a:endParaRP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smtClean="0">
                <a:solidFill>
                  <a:schemeClr val="tx1"/>
                </a:solidFill>
              </a:rPr>
              <a:t>Semantik-</a:t>
            </a:r>
            <a:r>
              <a:rPr lang="de-DE" sz="1400" dirty="0">
                <a:solidFill>
                  <a:schemeClr val="tx1"/>
                </a:solidFill>
              </a:rPr>
              <a:t>/</a:t>
            </a:r>
            <a:r>
              <a:rPr lang="de-DE" sz="1400" dirty="0" smtClean="0">
                <a:solidFill>
                  <a:schemeClr val="tx1"/>
                </a:solidFill>
              </a:rPr>
              <a:t>Syntaxfehle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smtClean="0">
                <a:solidFill>
                  <a:schemeClr val="tx1"/>
                </a:solidFill>
              </a:rPr>
              <a:t>Technische Fehler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Zufallsgenerator</a:t>
            </a:r>
          </a:p>
          <a:p>
            <a:pPr marL="1200150" lvl="2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Verwendet generische Klassen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Model</a:t>
            </a: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Data</a:t>
            </a:r>
            <a:endParaRPr lang="de-DE" sz="14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de-DE" sz="1400" dirty="0" err="1">
                <a:solidFill>
                  <a:schemeClr val="tx1"/>
                </a:solidFill>
              </a:rPr>
              <a:t>ZufallErgebnisData</a:t>
            </a: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34A670EF-7C52-44A7-9B23-823AFF98EB41}"/>
              </a:ext>
            </a:extLst>
          </p:cNvPr>
          <p:cNvCxnSpPr/>
          <p:nvPr/>
        </p:nvCxnSpPr>
        <p:spPr>
          <a:xfrm>
            <a:off x="12192000" y="1124744"/>
            <a:ext cx="0" cy="504056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84616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3.7037E-7 L -0.65117 3.7037E-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565" y="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5117 3.7037E-7 L -1.0056 3.7037E-7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21" y="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  </a:t>
            </a:r>
            <a:fld id="{2B4F42BA-C6E3-4D5B-99FA-36163155CEA7}" type="slidenum">
              <a:rPr lang="de-DE" smtClean="0"/>
              <a:pPr/>
              <a:t>14</a:t>
            </a:fld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Programm / </a:t>
            </a:r>
            <a:r>
              <a:rPr lang="de-DE" dirty="0" smtClean="0"/>
              <a:t>System</a:t>
            </a:r>
            <a:br>
              <a:rPr lang="de-DE" dirty="0" smtClean="0"/>
            </a:br>
            <a:r>
              <a:rPr lang="de-DE" sz="1800" dirty="0" smtClean="0"/>
              <a:t>Anpassung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/>
          <p:cNvPicPr/>
          <p:nvPr/>
        </p:nvPicPr>
        <p:blipFill>
          <a:blip r:embed="rId2"/>
          <a:stretch>
            <a:fillRect/>
          </a:stretch>
        </p:blipFill>
        <p:spPr>
          <a:xfrm>
            <a:off x="6419395" y="1340768"/>
            <a:ext cx="5399405" cy="46882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5132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tring-Mapping / Validierung</a:t>
            </a:r>
            <a:endParaRPr lang="de-DE" dirty="0"/>
          </a:p>
          <a:p>
            <a:pPr marL="465750" lvl="2" indent="-285750"/>
            <a:r>
              <a:rPr lang="de-DE" dirty="0" smtClean="0"/>
              <a:t>Fehleranfällig</a:t>
            </a:r>
          </a:p>
          <a:p>
            <a:pPr marL="465750" lvl="2" indent="-285750"/>
            <a:r>
              <a:rPr lang="de-DE" dirty="0" smtClean="0"/>
              <a:t>Unübersichtlich</a:t>
            </a:r>
          </a:p>
          <a:p>
            <a:pPr marL="465750" lvl="2" indent="-285750"/>
            <a:r>
              <a:rPr lang="de-DE" dirty="0" err="1" smtClean="0"/>
              <a:t>Enumerations</a:t>
            </a:r>
            <a:r>
              <a:rPr lang="de-DE" dirty="0" smtClean="0"/>
              <a:t> für Sammlung von String-Konstanten</a:t>
            </a:r>
            <a:endParaRPr lang="de-DE" dirty="0"/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094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854" y="218363"/>
            <a:ext cx="10080000" cy="584775"/>
          </a:xfrm>
        </p:spPr>
        <p:txBody>
          <a:bodyPr/>
          <a:lstStyle/>
          <a:p>
            <a:r>
              <a:rPr lang="de-DE" dirty="0"/>
              <a:t>Programm / System</a:t>
            </a:r>
            <a:br>
              <a:rPr lang="de-DE" dirty="0"/>
            </a:br>
            <a:r>
              <a:rPr lang="de-DE" sz="1800" dirty="0"/>
              <a:t>Datenflus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5411B075-355D-4594-8151-C8CD3FDF434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3712" y="1415115"/>
            <a:ext cx="5771639" cy="98627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A5EA153-64F2-478E-B607-03249B46BED9}"/>
              </a:ext>
            </a:extLst>
          </p:cNvPr>
          <p:cNvSpPr/>
          <p:nvPr/>
        </p:nvSpPr>
        <p:spPr>
          <a:xfrm>
            <a:off x="2999656" y="0"/>
            <a:ext cx="7128792" cy="11247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39352A1-E4B6-4FE4-A1EB-7287CA049C22}"/>
              </a:ext>
            </a:extLst>
          </p:cNvPr>
          <p:cNvSpPr/>
          <p:nvPr/>
        </p:nvSpPr>
        <p:spPr>
          <a:xfrm>
            <a:off x="3503712" y="5733256"/>
            <a:ext cx="6984776" cy="1124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C59E3B2-570A-4DC0-B223-35A63D84EECC}"/>
              </a:ext>
            </a:extLst>
          </p:cNvPr>
          <p:cNvSpPr/>
          <p:nvPr/>
        </p:nvSpPr>
        <p:spPr>
          <a:xfrm>
            <a:off x="3007296" y="1124745"/>
            <a:ext cx="7128792" cy="1886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23592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4.44444E-6 L 1.45833E-6 -0.5333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6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1794E40-FC98-4C35-955E-2A8FE2C97E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B76458-B8BF-465E-8A2A-CA7F1499D8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Testing</a:t>
            </a:r>
          </a:p>
        </p:txBody>
      </p:sp>
    </p:spTree>
    <p:extLst>
      <p:ext uri="{BB962C8B-B14F-4D97-AF65-F5344CB8AC3E}">
        <p14:creationId xmlns:p14="http://schemas.microsoft.com/office/powerpoint/2010/main" val="33675171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Testfälle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8677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stkategorien</a:t>
            </a:r>
          </a:p>
          <a:p>
            <a:pPr marL="465750" lvl="2" indent="-285750"/>
            <a:r>
              <a:rPr lang="de-DE" dirty="0"/>
              <a:t>Positivtests</a:t>
            </a:r>
          </a:p>
          <a:p>
            <a:pPr marL="645750" lvl="3" indent="-285750"/>
            <a:r>
              <a:rPr lang="de-DE" dirty="0"/>
              <a:t>LCG (Simpel/ANSI/</a:t>
            </a:r>
            <a:r>
              <a:rPr lang="de-DE" dirty="0" err="1"/>
              <a:t>MinimalStandard</a:t>
            </a:r>
            <a:r>
              <a:rPr lang="de-DE" dirty="0"/>
              <a:t>/RANDU/SIMSCRIPT/NAG/</a:t>
            </a:r>
            <a:r>
              <a:rPr lang="de-DE" dirty="0" err="1"/>
              <a:t>Maple</a:t>
            </a:r>
            <a:r>
              <a:rPr lang="de-DE" dirty="0"/>
              <a:t>)</a:t>
            </a:r>
          </a:p>
          <a:p>
            <a:pPr marL="645750" lvl="3" indent="-285750"/>
            <a:r>
              <a:rPr lang="de-DE" dirty="0"/>
              <a:t>Polarmethode (Interne Java-Zufallszahlen-Library / LCG-Basis)</a:t>
            </a:r>
          </a:p>
          <a:p>
            <a:pPr marL="645750" lvl="3" indent="-285750"/>
            <a:r>
              <a:rPr lang="de-DE" dirty="0" err="1"/>
              <a:t>SequenzUpDown</a:t>
            </a:r>
            <a:r>
              <a:rPr lang="de-DE" dirty="0"/>
              <a:t> (LCG-Simpel/ANSI)</a:t>
            </a:r>
          </a:p>
          <a:p>
            <a:pPr marL="645750" lvl="3" indent="-285750"/>
            <a:r>
              <a:rPr lang="de-DE" dirty="0"/>
              <a:t>Serielle-Autokorrelation (LCG-Simpel/ANSI)</a:t>
            </a:r>
          </a:p>
          <a:p>
            <a:pPr marL="645750" lvl="3" indent="-285750"/>
            <a:r>
              <a:rPr lang="de-DE" dirty="0"/>
              <a:t>Eigene Zufallsmethoden</a:t>
            </a:r>
          </a:p>
          <a:p>
            <a:pPr marL="465750" lvl="2" indent="-285750"/>
            <a:r>
              <a:rPr lang="de-DE" dirty="0"/>
              <a:t>Negativtests</a:t>
            </a:r>
          </a:p>
          <a:p>
            <a:pPr marL="645750" lvl="3" indent="-285750"/>
            <a:r>
              <a:rPr lang="de-DE" dirty="0"/>
              <a:t>Diverse Mapping-Fehlerszenarien (fehlende Angaben, falsche Zeichen)</a:t>
            </a:r>
          </a:p>
          <a:p>
            <a:pPr marL="645750" lvl="3" indent="-285750"/>
            <a:r>
              <a:rPr lang="de-DE" dirty="0"/>
              <a:t>Fehlerfälle für jeden Generatortyp</a:t>
            </a:r>
          </a:p>
          <a:p>
            <a:pPr marL="645750" lvl="3" indent="-285750"/>
            <a:r>
              <a:rPr lang="de-DE" dirty="0"/>
              <a:t>Fehlerfälle für jedes Bewertungsverfahren</a:t>
            </a:r>
          </a:p>
          <a:p>
            <a:pPr marL="645750" lvl="3" indent="-285750"/>
            <a:r>
              <a:rPr lang="de-DE" dirty="0"/>
              <a:t>Grenzfälle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394560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1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Anzahl n zu groß (maximal 50000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ED5AF23-E57C-4B2F-83D4-591D98955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65284"/>
            <a:ext cx="7391400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3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287338F-7701-496A-B512-AE38465C7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1E1E00-C64D-4F36-A3EB-A165885F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1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60BBF40-BF43-4AC3-B315-37D6ED466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Testing</a:t>
            </a:r>
            <a:br>
              <a:rPr lang="de-DE" dirty="0"/>
            </a:br>
            <a:r>
              <a:rPr lang="de-DE" sz="1800" dirty="0"/>
              <a:t>Beispiel 2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75624E-01A0-4746-A13C-0896E3094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BAAE5D-12DD-406E-8BD9-DD5FF9D28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6221"/>
          </a:xfrm>
        </p:spPr>
        <p:txBody>
          <a:bodyPr anchor="t"/>
          <a:lstStyle/>
          <a:p>
            <a:pPr marL="285750" indent="-285750">
              <a:buFontTx/>
              <a:buChar char="-"/>
            </a:pPr>
            <a:r>
              <a:rPr lang="de-DE" dirty="0"/>
              <a:t>Testfall: LCG, keine Reduzierung auf Intervall [0;1]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7B422A-B74C-488B-AE04-50608CD2C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800" y="1874809"/>
            <a:ext cx="7381875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6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" r="28"/>
          <a:stretch>
            <a:fillRect/>
          </a:stretch>
        </p:blipFill>
        <p:spPr/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CBBEB5-C90F-4C48-99CD-A1498F0F41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983432" y="1988840"/>
            <a:ext cx="10837092" cy="984885"/>
          </a:xfrm>
        </p:spPr>
        <p:txBody>
          <a:bodyPr/>
          <a:lstStyle/>
          <a:p>
            <a:r>
              <a:rPr lang="de-DE" dirty="0"/>
              <a:t>Gothaer Systems GmbH</a:t>
            </a:r>
            <a:br>
              <a:rPr lang="de-DE" dirty="0"/>
            </a:br>
            <a:endParaRPr lang="de-DE" dirty="0"/>
          </a:p>
        </p:txBody>
      </p: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983432" y="3143001"/>
            <a:ext cx="10837092" cy="1107996"/>
          </a:xfrm>
        </p:spPr>
        <p:txBody>
          <a:bodyPr/>
          <a:lstStyle/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IT-Dienstleister der Gothaer-Versicherungsbank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ca. 600 interne Mitarbeiter</a:t>
            </a:r>
          </a:p>
          <a:p>
            <a:pPr marL="342900" indent="-342900" defTabSz="872436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Arial" charset="0"/>
              </a:rPr>
              <a:t>Letzter Praktikumseinsatz im Team SPS-SCH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D731235-838E-4F9E-9628-064E8F1FFB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17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</a:pPr>
            <a:endParaRPr lang="de-DE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16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F9C987E-B618-4BC0-AE13-6EAD46A13C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AFF314-B447-4665-9212-B073C96557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rgebnisinterpretation und Ausblick</a:t>
            </a:r>
          </a:p>
        </p:txBody>
      </p:sp>
    </p:spTree>
    <p:extLst>
      <p:ext uri="{BB962C8B-B14F-4D97-AF65-F5344CB8AC3E}">
        <p14:creationId xmlns:p14="http://schemas.microsoft.com/office/powerpoint/2010/main" val="425540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21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 smtClean="0"/>
              <a:t>Ergebnisinterpretation und Ausblick</a:t>
            </a:r>
            <a:br>
              <a:rPr lang="de-DE" dirty="0" smtClean="0"/>
            </a:br>
            <a:r>
              <a:rPr lang="de-DE" sz="1800" dirty="0" smtClean="0"/>
              <a:t>Bewertung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Beispiel: LCG-ANSI-C</a:t>
            </a:r>
          </a:p>
          <a:p>
            <a:pPr marL="465750" lvl="2" indent="-285750"/>
            <a:r>
              <a:rPr lang="de-DE" dirty="0" smtClean="0"/>
              <a:t>Testergebnisse sind „gut“ (?)</a:t>
            </a:r>
          </a:p>
          <a:p>
            <a:pPr marL="465750" lvl="2" indent="-285750"/>
            <a:r>
              <a:rPr lang="de-DE" dirty="0" smtClean="0"/>
              <a:t>Bewertungsmöglichkeiten</a:t>
            </a:r>
            <a:endParaRPr lang="de-DE" dirty="0" smtClean="0"/>
          </a:p>
          <a:p>
            <a:pPr marL="645750" lvl="3" indent="-285750"/>
            <a:r>
              <a:rPr lang="de-DE" dirty="0" smtClean="0"/>
              <a:t>Bewertung von Roh mittels Konfidenzintervallen</a:t>
            </a:r>
          </a:p>
          <a:p>
            <a:pPr marL="645750" lvl="3" indent="-285750"/>
            <a:r>
              <a:rPr lang="de-DE" dirty="0" smtClean="0"/>
              <a:t>Einteilung in Positiv-/Negativintervall – Prozentuale Bewertung</a:t>
            </a:r>
            <a:endParaRPr lang="de-DE" dirty="0"/>
          </a:p>
          <a:p>
            <a:pPr marL="645750" lvl="3" indent="-285750"/>
            <a:r>
              <a:rPr lang="de-DE" dirty="0" smtClean="0"/>
              <a:t>Gewichtung einzelner Verfahren für Gesamtbewertung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2064" y="1196752"/>
            <a:ext cx="5438775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2153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  </a:t>
            </a:r>
            <a:fld id="{2B4F42BA-C6E3-4D5B-99FA-36163155CEA7}" type="slidenum">
              <a:rPr lang="de-DE" smtClean="0"/>
              <a:pPr/>
              <a:t>22</a:t>
            </a:fld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Ergebnisinterpretation und Ausblick</a:t>
            </a:r>
            <a:br>
              <a:rPr lang="de-DE" dirty="0"/>
            </a:br>
            <a:r>
              <a:rPr lang="de-DE" sz="1800" dirty="0" smtClean="0"/>
              <a:t>Programmerweiterun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728952"/>
          </a:xfrm>
        </p:spPr>
        <p:txBody>
          <a:bodyPr/>
          <a:lstStyle/>
          <a:p>
            <a:pPr marL="465750" lvl="2" indent="-285750"/>
            <a:r>
              <a:rPr lang="de-DE" dirty="0" smtClean="0"/>
              <a:t>Generell Erweiterbar</a:t>
            </a:r>
          </a:p>
          <a:p>
            <a:pPr marL="465750" lvl="2" indent="-285750"/>
            <a:r>
              <a:rPr lang="de-DE" dirty="0" smtClean="0"/>
              <a:t>Factory</a:t>
            </a:r>
          </a:p>
          <a:p>
            <a:pPr marL="645750" lvl="3" indent="-285750"/>
            <a:r>
              <a:rPr lang="de-DE" dirty="0" smtClean="0"/>
              <a:t>Durch Interfaces muss </a:t>
            </a:r>
            <a:r>
              <a:rPr lang="de-DE" dirty="0" err="1" smtClean="0"/>
              <a:t>Presenter</a:t>
            </a:r>
            <a:r>
              <a:rPr lang="de-DE" dirty="0"/>
              <a:t> </a:t>
            </a:r>
            <a:r>
              <a:rPr lang="de-DE" dirty="0" smtClean="0"/>
              <a:t>für jedes Szenario unterscheiden</a:t>
            </a:r>
          </a:p>
          <a:p>
            <a:pPr marL="645750" lvl="3" indent="-285750"/>
            <a:r>
              <a:rPr lang="de-DE" dirty="0" smtClean="0"/>
              <a:t>Ab gewissen Kopmlexitätsniveau</a:t>
            </a:r>
            <a:r>
              <a:rPr lang="de-DE" dirty="0"/>
              <a:t> </a:t>
            </a:r>
            <a:r>
              <a:rPr lang="de-DE" dirty="0" smtClean="0"/>
              <a:t>kann Factory aushelfen</a:t>
            </a:r>
          </a:p>
          <a:p>
            <a:pPr marL="465750" lvl="2" indent="-285750"/>
            <a:r>
              <a:rPr lang="de-DE" dirty="0" smtClean="0"/>
              <a:t>Vererbung</a:t>
            </a:r>
          </a:p>
          <a:p>
            <a:pPr marL="645750" lvl="3" indent="-285750"/>
            <a:r>
              <a:rPr lang="de-DE" dirty="0" smtClean="0"/>
              <a:t>Speichern von mehr Informationen in abstrakten Konstrukten</a:t>
            </a:r>
          </a:p>
          <a:p>
            <a:pPr marL="645750" lvl="3" indent="-285750"/>
            <a:r>
              <a:rPr lang="de-DE" dirty="0" smtClean="0"/>
              <a:t>Generalisierung in spezifische Arten</a:t>
            </a:r>
          </a:p>
          <a:p>
            <a:pPr marL="465750" lvl="2" indent="-285750"/>
            <a:r>
              <a:rPr lang="de-DE" dirty="0" smtClean="0"/>
              <a:t>Abkopplung des Zufall-Generators in eine JAR (Bibliothek)</a:t>
            </a:r>
          </a:p>
          <a:p>
            <a:pPr marL="645750" lvl="3" indent="-285750"/>
            <a:r>
              <a:rPr lang="de-DE" dirty="0" smtClean="0"/>
              <a:t>Getrennte Nutzung für Testing und Anbindung</a:t>
            </a:r>
          </a:p>
        </p:txBody>
      </p:sp>
    </p:spTree>
    <p:extLst>
      <p:ext uri="{BB962C8B-B14F-4D97-AF65-F5344CB8AC3E}">
        <p14:creationId xmlns:p14="http://schemas.microsoft.com/office/powerpoint/2010/main" val="67495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83432" y="3187960"/>
            <a:ext cx="10837092" cy="1661993"/>
          </a:xfrm>
        </p:spPr>
        <p:txBody>
          <a:bodyPr/>
          <a:lstStyle/>
          <a:p>
            <a:r>
              <a:rPr lang="de-DE" dirty="0"/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4019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0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2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">
            <a:extLst>
              <a:ext uri="{FF2B5EF4-FFF2-40B4-BE49-F238E27FC236}">
                <a16:creationId xmlns:a16="http://schemas.microsoft.com/office/drawing/2014/main" id="{8F3AD83B-9973-4EE2-AFA1-0A938B6549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3282527"/>
              </p:ext>
            </p:extLst>
          </p:nvPr>
        </p:nvGraphicFramePr>
        <p:xfrm>
          <a:off x="911424" y="2132856"/>
          <a:ext cx="10883527" cy="3506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100">
                  <a:extLst>
                    <a:ext uri="{9D8B030D-6E8A-4147-A177-3AD203B41FA5}">
                      <a16:colId xmlns:a16="http://schemas.microsoft.com/office/drawing/2014/main" val="1770018436"/>
                    </a:ext>
                  </a:extLst>
                </a:gridCol>
                <a:gridCol w="1006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nalyse /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angehensweise</a:t>
                      </a: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 / System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36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2000" b="1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8112" marR="38112" marT="36000" marB="36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e-DE" sz="2400" b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8112" marR="38112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gebnisinterpretation </a:t>
                      </a: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 Ausblic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de-DE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58" marR="190558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772C9DE-AC5C-4F5F-800B-ACA0FB34E690}"/>
              </a:ext>
            </a:extLst>
          </p:cNvPr>
          <p:cNvSpPr/>
          <p:nvPr/>
        </p:nvSpPr>
        <p:spPr bwMode="white">
          <a:xfrm flipH="1">
            <a:off x="911424" y="2132856"/>
            <a:ext cx="100802" cy="100802"/>
          </a:xfrm>
          <a:custGeom>
            <a:avLst/>
            <a:gdLst>
              <a:gd name="connsiteX0" fmla="*/ 100802 w 100802"/>
              <a:gd name="connsiteY0" fmla="*/ 0 h 100802"/>
              <a:gd name="connsiteX1" fmla="*/ 0 w 100802"/>
              <a:gd name="connsiteY1" fmla="*/ 0 h 100802"/>
              <a:gd name="connsiteX2" fmla="*/ 100802 w 100802"/>
              <a:gd name="connsiteY2" fmla="*/ 100802 h 1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802" h="100802">
                <a:moveTo>
                  <a:pt x="100802" y="0"/>
                </a:moveTo>
                <a:lnTo>
                  <a:pt x="0" y="0"/>
                </a:lnTo>
                <a:cubicBezTo>
                  <a:pt x="55671" y="0"/>
                  <a:pt x="100802" y="45131"/>
                  <a:pt x="100802" y="1008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6138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E13E3F6-5243-4FBE-9F3E-EE0E9326CC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5316" y="917716"/>
            <a:ext cx="3093796" cy="3339376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383EDAD-6262-4373-9517-2907B02C5A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nalyse und Herangehensweise</a:t>
            </a:r>
          </a:p>
        </p:txBody>
      </p:sp>
    </p:spTree>
    <p:extLst>
      <p:ext uri="{BB962C8B-B14F-4D97-AF65-F5344CB8AC3E}">
        <p14:creationId xmlns:p14="http://schemas.microsoft.com/office/powerpoint/2010/main" val="24211629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5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34778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itiale Anforderungen</a:t>
            </a:r>
          </a:p>
          <a:p>
            <a:pPr marL="465750" lvl="2" indent="-285750"/>
            <a:r>
              <a:rPr lang="de-DE" dirty="0"/>
              <a:t>Generatoren erzeugen Zufallszahlen</a:t>
            </a:r>
          </a:p>
          <a:p>
            <a:pPr marL="465750" lvl="2" indent="-285750"/>
            <a:r>
              <a:rPr lang="de-DE" dirty="0"/>
              <a:t>Zufallszahlen werden mit spezifischen Verfahren bewertet</a:t>
            </a:r>
          </a:p>
          <a:p>
            <a:pPr marL="465750" lvl="2" indent="-285750"/>
            <a:r>
              <a:rPr lang="de-DE" dirty="0"/>
              <a:t>Die zu verwendenden Methoden / Verfahren muss angegeben werden können</a:t>
            </a:r>
          </a:p>
          <a:p>
            <a:pPr marL="465750" lvl="2" indent="-285750"/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chemeClr val="accent1"/>
                </a:solidFill>
              </a:rPr>
              <a:t>Unklarheiten / Fragen</a:t>
            </a:r>
          </a:p>
          <a:p>
            <a:pPr marL="465750" lvl="2" indent="-285750"/>
            <a:r>
              <a:rPr lang="de-DE" dirty="0"/>
              <a:t>Wann sind Zufallszahlen hinsichtlich erwähnter Verfahren „gut“ / Was bedeutet „gut“ / „schlecht“?</a:t>
            </a:r>
          </a:p>
          <a:p>
            <a:pPr marL="465750" lvl="2" indent="-285750"/>
            <a:r>
              <a:rPr lang="de-DE" dirty="0"/>
              <a:t>Wie lassen sich Ergebnisse interpretieren?</a:t>
            </a:r>
          </a:p>
          <a:p>
            <a:pPr marL="465750" lvl="2" indent="-285750"/>
            <a:r>
              <a:rPr lang="de-DE" dirty="0"/>
              <a:t>Wie lassen sich Anforderungen testen?</a:t>
            </a:r>
          </a:p>
          <a:p>
            <a:pPr marL="465750" lvl="2" indent="-285750"/>
            <a:endParaRPr lang="de-DE" dirty="0"/>
          </a:p>
          <a:p>
            <a:pPr marL="465750" lvl="2" indent="-285750"/>
            <a:r>
              <a:rPr lang="de-DE" dirty="0"/>
              <a:t>Eigene Definition oben gestellter Fragen</a:t>
            </a:r>
          </a:p>
        </p:txBody>
      </p:sp>
    </p:spTree>
    <p:extLst>
      <p:ext uri="{BB962C8B-B14F-4D97-AF65-F5344CB8AC3E}">
        <p14:creationId xmlns:p14="http://schemas.microsoft.com/office/powerpoint/2010/main" val="682722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C1DBFF-5F28-44E4-8F9A-7E420CC9C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B0317D-3774-4AE7-8870-328202E0E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6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A90DB4-0961-441E-8CED-D1BB66C3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Zieldefini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8650036-2E09-4A24-B6F9-ED2762BE33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98FA62-3EB0-40B6-869C-87619F5431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412876"/>
            <a:ext cx="11448000" cy="24057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Zieldefinition</a:t>
            </a:r>
          </a:p>
          <a:p>
            <a:pPr marL="465750" lvl="2" indent="-285750"/>
            <a:r>
              <a:rPr lang="de-DE" dirty="0"/>
              <a:t>Anwendung, welche den Zufallsgenerator implizit nutzt</a:t>
            </a:r>
          </a:p>
          <a:p>
            <a:pPr marL="465750" lvl="2" indent="-285750"/>
            <a:r>
              <a:rPr lang="de-DE" dirty="0"/>
              <a:t>Keine Einbindung einer „Zufallszahlenanwendung“ Bibliothek</a:t>
            </a:r>
          </a:p>
          <a:p>
            <a:pPr marL="465750" lvl="2" indent="-285750"/>
            <a:r>
              <a:rPr lang="de-DE" dirty="0"/>
              <a:t>Klassisches EVA-Prinzip</a:t>
            </a:r>
          </a:p>
          <a:p>
            <a:pPr marL="645750" lvl="3" indent="-285750"/>
            <a:r>
              <a:rPr lang="de-DE" dirty="0"/>
              <a:t>Einlesen von Testdateien</a:t>
            </a:r>
          </a:p>
          <a:p>
            <a:pPr marL="645750" lvl="3" indent="-285750"/>
            <a:r>
              <a:rPr lang="de-DE" dirty="0"/>
              <a:t>Ausgabe von Testergebnissen</a:t>
            </a:r>
          </a:p>
          <a:p>
            <a:pPr marL="645750" lvl="3" indent="-285750"/>
            <a:r>
              <a:rPr lang="de-DE" dirty="0"/>
              <a:t>Anwendung kann vom Endbenutzer verwendet werden</a:t>
            </a:r>
          </a:p>
          <a:p>
            <a:pPr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01065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E02D981-AEA9-4E3F-AF5C-727DC79EE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D100C1-D6E2-45D3-82DE-65135C0A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7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7CB052B-9BBD-443B-ACF3-17790A086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Ein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7A89A9-236E-42B6-8039-9DCE98C6BF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FB8B281C-35C3-4805-A7F9-11747F76F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9997100"/>
              </p:ext>
            </p:extLst>
          </p:nvPr>
        </p:nvGraphicFramePr>
        <p:xfrm>
          <a:off x="395491" y="1442157"/>
          <a:ext cx="11423309" cy="4129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333253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64DCC29-B58B-4445-A343-C895DFDB8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116F4B-5643-431D-9E0D-F77A15D9D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8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58F8DBA-B093-46E4-A2D8-CA7369139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584775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sz="1800" dirty="0"/>
              <a:t>Ausgabe von Information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DF6CEB8-8694-4301-BDEB-8654960151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E46CC914-ED80-4DA1-ADD7-B120A36C67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799614"/>
              </p:ext>
            </p:extLst>
          </p:nvPr>
        </p:nvGraphicFramePr>
        <p:xfrm>
          <a:off x="2001690" y="1442157"/>
          <a:ext cx="8186220" cy="4129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3402226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3890A2-D96B-4ACC-8910-3CE6815AB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ED33ED-86EF-43E0-BBFC-3F79D10AF08C}" type="datetime1">
              <a:rPr lang="de-DE" smtClean="0"/>
              <a:t>16.07.2020</a:t>
            </a:fld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5B4464-5C32-4CAC-B095-F53846C74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  </a:t>
            </a:r>
            <a:fld id="{2B4F42BA-C6E3-4D5B-99FA-36163155CEA7}" type="slidenum">
              <a:rPr lang="de-DE" smtClean="0"/>
              <a:pPr/>
              <a:t>9</a:t>
            </a:fld>
            <a:endParaRPr lang="de-DE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FB13C9-6243-4630-8E2E-5B8FD1AE5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85631"/>
            <a:ext cx="10080000" cy="615553"/>
          </a:xfrm>
        </p:spPr>
        <p:txBody>
          <a:bodyPr/>
          <a:lstStyle/>
          <a:p>
            <a:r>
              <a:rPr lang="de-DE" dirty="0"/>
              <a:t>Analyse und Herangehensweise</a:t>
            </a:r>
            <a:br>
              <a:rPr lang="de-DE" dirty="0"/>
            </a:br>
            <a:r>
              <a:rPr lang="de-DE" dirty="0"/>
              <a:t>Verarbeitung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DDCCF1-469C-42B3-9388-15999E641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34892013-383A-441F-A4FF-18B3F40392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475" y="1277434"/>
            <a:ext cx="5832648" cy="4843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828D2394-2B60-4AF8-997C-C6DB873279AF}"/>
              </a:ext>
            </a:extLst>
          </p:cNvPr>
          <p:cNvCxnSpPr/>
          <p:nvPr/>
        </p:nvCxnSpPr>
        <p:spPr>
          <a:xfrm>
            <a:off x="2783632" y="6858000"/>
            <a:ext cx="875519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66C245EA-6CFC-43BA-9520-F4642DD701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6736" y="1296405"/>
            <a:ext cx="4860428" cy="17851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rechnung</a:t>
            </a:r>
          </a:p>
          <a:p>
            <a:pPr marL="465750" lvl="2" indent="-285750"/>
            <a:r>
              <a:rPr lang="de-DE" dirty="0"/>
              <a:t>Basierend auf Aufgabenstellung</a:t>
            </a:r>
          </a:p>
          <a:p>
            <a:pPr marL="465750" lvl="2" indent="-285750"/>
            <a:r>
              <a:rPr lang="de-DE" dirty="0"/>
              <a:t>Erweiterbarkeit nicht inbegriffen</a:t>
            </a:r>
          </a:p>
          <a:p>
            <a:pPr marL="645750" lvl="3" indent="-285750"/>
            <a:r>
              <a:rPr lang="de-DE" dirty="0"/>
              <a:t>Weitere Generatoren</a:t>
            </a:r>
          </a:p>
          <a:p>
            <a:pPr marL="645750" lvl="3" indent="-285750"/>
            <a:r>
              <a:rPr lang="de-DE" dirty="0"/>
              <a:t>Weitere Bewertungen</a:t>
            </a:r>
          </a:p>
          <a:p>
            <a:pPr marL="645750" lvl="3" indent="-285750"/>
            <a:r>
              <a:rPr lang="de-DE" dirty="0"/>
              <a:t>Individuelle Bedingungen</a:t>
            </a:r>
          </a:p>
        </p:txBody>
      </p:sp>
    </p:spTree>
    <p:extLst>
      <p:ext uri="{BB962C8B-B14F-4D97-AF65-F5344CB8AC3E}">
        <p14:creationId xmlns:p14="http://schemas.microsoft.com/office/powerpoint/2010/main" val="298636845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EMWPjRY2FXlW0sFM6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4O6re_QrGYS9NFD4Q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SVKfzQJmje.JcJjR0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4uwk2ERZaJmlhGdtY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zNMdvR5qA1Ne24pE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k3rd0SgqAH_HB5OE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ch_hab_kb">
  <a:themeElements>
    <a:clrScheme name="Gothaer02">
      <a:dk1>
        <a:srgbClr val="000000"/>
      </a:dk1>
      <a:lt1>
        <a:srgbClr val="FFFFFF"/>
      </a:lt1>
      <a:dk2>
        <a:srgbClr val="005064"/>
      </a:dk2>
      <a:lt2>
        <a:srgbClr val="CCE3E9"/>
      </a:lt2>
      <a:accent1>
        <a:srgbClr val="00718F"/>
      </a:accent1>
      <a:accent2>
        <a:srgbClr val="78B4C4"/>
      </a:accent2>
      <a:accent3>
        <a:srgbClr val="A7C800"/>
      </a:accent3>
      <a:accent4>
        <a:srgbClr val="4899AF"/>
      </a:accent4>
      <a:accent5>
        <a:srgbClr val="E1100A"/>
      </a:accent5>
      <a:accent6>
        <a:srgbClr val="DFDCD7"/>
      </a:accent6>
      <a:hlink>
        <a:srgbClr val="00718F"/>
      </a:hlink>
      <a:folHlink>
        <a:srgbClr val="78B4C4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algn="l">
          <a:spcBef>
            <a:spcPts val="600"/>
          </a:spcBef>
          <a:buClr>
            <a:schemeClr val="accent1"/>
          </a:buCl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defRPr sz="1600" dirty="0" err="1" smtClean="0"/>
        </a:defPPr>
      </a:lstStyle>
    </a:txDef>
  </a:objectDefaults>
  <a:extraClrSchemeLst/>
  <a:custClrLst>
    <a:custClr name="Gothaer Blau 35%">
      <a:srgbClr val="A8CFD9"/>
    </a:custClr>
    <a:custClr name="Gothaer Gruen 75%">
      <a:srgbClr val="BDD640"/>
    </a:custClr>
    <a:custClr name="Gothaer Gruen 50%">
      <a:srgbClr val="D3E380"/>
    </a:custClr>
    <a:custClr name="Gothaer Gruen 35%">
      <a:srgbClr val="E0ECA6"/>
    </a:custClr>
    <a:custClr name="Gothaer Gruen 20%">
      <a:srgbClr val="EDF4CC"/>
    </a:custClr>
    <a:custClr name="Gothaer Grau 75% ">
      <a:srgbClr val="E7E5E1"/>
    </a:custClr>
    <a:custClr name="Gothaer Grau 50%">
      <a:srgbClr val="EFEDEB"/>
    </a:custClr>
    <a:custClr name="Gothaer Grau 35%">
      <a:srgbClr val="F4F3F1"/>
    </a:custClr>
    <a:custClr name="Gothaer Grau 20%">
      <a:srgbClr val="F9F8F7"/>
    </a:custClr>
  </a:custClrLst>
  <a:extLst>
    <a:ext uri="{05A4C25C-085E-4340-85A3-A5531E510DB2}">
      <thm15:themeFamily xmlns:thm15="http://schemas.microsoft.com/office/thememl/2012/main" name="Gothaer_Master_16zu9_scr10.potx" id="{39CDC12C-CC27-49BF-8F6C-D9028B0181F2}" vid="{29B9E739-BCA6-4564-9E9C-D0C03CE9D02C}"/>
    </a:ext>
  </a:extLst>
</a:theme>
</file>

<file path=ppt/theme/theme2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othaer">
      <a:dk1>
        <a:sysClr val="windowText" lastClr="000000"/>
      </a:dk1>
      <a:lt1>
        <a:sysClr val="window" lastClr="FFFFFF"/>
      </a:lt1>
      <a:dk2>
        <a:srgbClr val="000000"/>
      </a:dk2>
      <a:lt2>
        <a:srgbClr val="DFDCD7"/>
      </a:lt2>
      <a:accent1>
        <a:srgbClr val="00718F"/>
      </a:accent1>
      <a:accent2>
        <a:srgbClr val="78B4C4"/>
      </a:accent2>
      <a:accent3>
        <a:srgbClr val="A7C800"/>
      </a:accent3>
      <a:accent4>
        <a:srgbClr val="525252"/>
      </a:accent4>
      <a:accent5>
        <a:srgbClr val="A5A5A5"/>
      </a:accent5>
      <a:accent6>
        <a:srgbClr val="E1100A"/>
      </a:accent6>
      <a:hlink>
        <a:srgbClr val="00718F"/>
      </a:hlink>
      <a:folHlink>
        <a:srgbClr val="78B4C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ch_hab_kb</Template>
  <TotalTime>0</TotalTime>
  <Words>537</Words>
  <Application>Microsoft Office PowerPoint</Application>
  <PresentationFormat>Breitbild</PresentationFormat>
  <Paragraphs>181</Paragraphs>
  <Slides>23</Slides>
  <Notes>16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8" baseType="lpstr">
      <vt:lpstr>Arial</vt:lpstr>
      <vt:lpstr>Symbol</vt:lpstr>
      <vt:lpstr>Wingdings</vt:lpstr>
      <vt:lpstr>ich_hab_kb</vt:lpstr>
      <vt:lpstr>think-cell Folie</vt:lpstr>
      <vt:lpstr>Präsentation zur GroPro Abschlussprüfung Sommer 2020</vt:lpstr>
      <vt:lpstr>Gothaer Systems GmbH </vt:lpstr>
      <vt:lpstr>Agenda</vt:lpstr>
      <vt:lpstr>PowerPoint-Präsentation</vt:lpstr>
      <vt:lpstr>Analyse und Herangehensweise Zieldefinition</vt:lpstr>
      <vt:lpstr>Analyse und Herangehensweise Zieldefinition</vt:lpstr>
      <vt:lpstr>Analyse und Herangehensweise Eingabe von Informationen</vt:lpstr>
      <vt:lpstr>Analyse und Herangehensweise Ausgabe von Informationen</vt:lpstr>
      <vt:lpstr>Analyse und Herangehensweise Verarbeitung</vt:lpstr>
      <vt:lpstr>PowerPoint-Präsentation</vt:lpstr>
      <vt:lpstr>Programm / System Verfahrensbeschreibung</vt:lpstr>
      <vt:lpstr>Programm / System Verfahrensbeschreibung</vt:lpstr>
      <vt:lpstr>Programm / System Klassenstruktur - View</vt:lpstr>
      <vt:lpstr>Programm / System Anpassung</vt:lpstr>
      <vt:lpstr>Programm / System Datenfluss</vt:lpstr>
      <vt:lpstr>PowerPoint-Präsentation</vt:lpstr>
      <vt:lpstr>Testing Testfälle</vt:lpstr>
      <vt:lpstr>Testing Beispiel 1</vt:lpstr>
      <vt:lpstr>Testing Beispiel 2</vt:lpstr>
      <vt:lpstr>PowerPoint-Präsentation</vt:lpstr>
      <vt:lpstr>Ergebnisinterpretation und Ausblick Bewertung</vt:lpstr>
      <vt:lpstr>Ergebnisinterpretation und Ausblick Programmerweiterungen</vt:lpstr>
      <vt:lpstr>Vielen Dank für Ihre Aufmerksamkeit</vt:lpstr>
    </vt:vector>
  </TitlesOfParts>
  <Manager>Vorname, Name</Manager>
  <Company>Gotha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zur GroPro – Sommersemester 2019</dc:title>
  <dc:subject>PowerPoint-Master</dc:subject>
  <dc:creator>Lukas Kondziella</dc:creator>
  <dc:description>Optimiert für PowerPoint 2016</dc:description>
  <cp:lastModifiedBy>Bjarne Herrmann</cp:lastModifiedBy>
  <cp:revision>102</cp:revision>
  <cp:lastPrinted>2019-05-24T13:54:24Z</cp:lastPrinted>
  <dcterms:created xsi:type="dcterms:W3CDTF">2019-06-25T06:47:37Z</dcterms:created>
  <dcterms:modified xsi:type="dcterms:W3CDTF">2020-07-16T10:13:27Z</dcterms:modified>
  <cp:category>PowerPoint-Master</cp:category>
</cp:coreProperties>
</file>